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1.xml" ContentType="application/vnd.openxmlformats-officedocument.drawingml.chartshape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920" r:id="rId2"/>
    <p:sldMasterId id="2147483941" r:id="rId3"/>
  </p:sldMasterIdLst>
  <p:notesMasterIdLst>
    <p:notesMasterId r:id="rId28"/>
  </p:notesMasterIdLst>
  <p:sldIdLst>
    <p:sldId id="1751" r:id="rId4"/>
    <p:sldId id="2387" r:id="rId5"/>
    <p:sldId id="2328" r:id="rId6"/>
    <p:sldId id="2388" r:id="rId7"/>
    <p:sldId id="2389" r:id="rId8"/>
    <p:sldId id="2390" r:id="rId9"/>
    <p:sldId id="2391" r:id="rId10"/>
    <p:sldId id="2392" r:id="rId11"/>
    <p:sldId id="2393" r:id="rId12"/>
    <p:sldId id="2394" r:id="rId13"/>
    <p:sldId id="2395" r:id="rId14"/>
    <p:sldId id="2396" r:id="rId15"/>
    <p:sldId id="2304" r:id="rId16"/>
    <p:sldId id="2402" r:id="rId17"/>
    <p:sldId id="2397" r:id="rId18"/>
    <p:sldId id="2403" r:id="rId19"/>
    <p:sldId id="2398" r:id="rId20"/>
    <p:sldId id="2404" r:id="rId21"/>
    <p:sldId id="2399" r:id="rId22"/>
    <p:sldId id="2405" r:id="rId23"/>
    <p:sldId id="2400" r:id="rId24"/>
    <p:sldId id="2406" r:id="rId25"/>
    <p:sldId id="2401" r:id="rId26"/>
    <p:sldId id="2407" r:id="rId27"/>
  </p:sldIdLst>
  <p:sldSz cx="12192000" cy="6858000"/>
  <p:notesSz cx="6858000" cy="9144000"/>
  <p:embeddedFontLs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Calibri Light" panose="020F0302020204030204" pitchFamily="34" charset="0"/>
      <p:regular r:id="rId33"/>
      <p:italic r:id="rId34"/>
    </p:embeddedFont>
  </p:embeddedFontLst>
  <p:custDataLst>
    <p:tags r:id="rId3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1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  <p:cmAuthor id="2" name="Žofka Jan Mgr. Ing." initials="ŽJMI" lastIdx="1" clrIdx="1">
    <p:extLst>
      <p:ext uri="{19B8F6BF-5375-455C-9EA6-DF929625EA0E}">
        <p15:presenceInfo xmlns:p15="http://schemas.microsoft.com/office/powerpoint/2012/main" userId="S::zofkaj@mzcr.cz::47242822-da23-458e-81a5-68dba5d2cc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EED"/>
    <a:srgbClr val="FBCBD8"/>
    <a:srgbClr val="00FF00"/>
    <a:srgbClr val="305983"/>
    <a:srgbClr val="C00000"/>
    <a:srgbClr val="D31145"/>
    <a:srgbClr val="244362"/>
    <a:srgbClr val="003399"/>
    <a:srgbClr val="706F6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61" autoAdjust="0"/>
    <p:restoredTop sz="94641" autoAdjust="0"/>
  </p:normalViewPr>
  <p:slideViewPr>
    <p:cSldViewPr snapToGrid="0">
      <p:cViewPr varScale="1">
        <p:scale>
          <a:sx n="109" d="100"/>
          <a:sy n="109" d="100"/>
        </p:scale>
        <p:origin x="144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21" Type="http://schemas.openxmlformats.org/officeDocument/2006/relationships/slide" Target="slides/slide18.xml"/><Relationship Id="rId34" Type="http://schemas.openxmlformats.org/officeDocument/2006/relationships/font" Target="fonts/font6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font" Target="fonts/font5.fntdata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font" Target="fonts/font4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36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3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font" Target="fonts/font2.fntdata"/><Relationship Id="rId35" Type="http://schemas.openxmlformats.org/officeDocument/2006/relationships/tags" Target="tags/tag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3.4199927730000002</c:v>
                </c:pt>
                <c:pt idx="1">
                  <c:v>3.728352777</c:v>
                </c:pt>
                <c:pt idx="2">
                  <c:v>4.4291709690000003</c:v>
                </c:pt>
                <c:pt idx="3">
                  <c:v>10.334732259999999</c:v>
                </c:pt>
                <c:pt idx="4">
                  <c:v>8.4939164779999992</c:v>
                </c:pt>
                <c:pt idx="5">
                  <c:v>6.1298231129999996</c:v>
                </c:pt>
                <c:pt idx="6">
                  <c:v>7.1950667629999998</c:v>
                </c:pt>
                <c:pt idx="7">
                  <c:v>12.84833351</c:v>
                </c:pt>
                <c:pt idx="8">
                  <c:v>13.58652867</c:v>
                </c:pt>
                <c:pt idx="9">
                  <c:v>14.64242808</c:v>
                </c:pt>
                <c:pt idx="10">
                  <c:v>15.4834099</c:v>
                </c:pt>
                <c:pt idx="11">
                  <c:v>17.80078206</c:v>
                </c:pt>
                <c:pt idx="12">
                  <c:v>22.874705760000001</c:v>
                </c:pt>
                <c:pt idx="13">
                  <c:v>35.367958049999999</c:v>
                </c:pt>
                <c:pt idx="14">
                  <c:v>75.062300399999998</c:v>
                </c:pt>
                <c:pt idx="15">
                  <c:v>122.39088889999999</c:v>
                </c:pt>
                <c:pt idx="16">
                  <c:v>143.01363219999999</c:v>
                </c:pt>
                <c:pt idx="17">
                  <c:v>166.9348931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19.753728749907001</c:v>
                </c:pt>
                <c:pt idx="1">
                  <c:v>12.091449859214</c:v>
                </c:pt>
                <c:pt idx="2">
                  <c:v>8.1762122309219993</c:v>
                </c:pt>
                <c:pt idx="3">
                  <c:v>6.72785463573</c:v>
                </c:pt>
                <c:pt idx="4">
                  <c:v>9.1853904262809998</c:v>
                </c:pt>
                <c:pt idx="5">
                  <c:v>13.69865957775</c:v>
                </c:pt>
                <c:pt idx="6">
                  <c:v>14.717182015659001</c:v>
                </c:pt>
                <c:pt idx="7">
                  <c:v>12.287678952757</c:v>
                </c:pt>
                <c:pt idx="8">
                  <c:v>10.558994081075999</c:v>
                </c:pt>
                <c:pt idx="9">
                  <c:v>11.287844999947</c:v>
                </c:pt>
                <c:pt idx="10">
                  <c:v>12.306367437856</c:v>
                </c:pt>
                <c:pt idx="11">
                  <c:v>12.072761374115</c:v>
                </c:pt>
                <c:pt idx="12">
                  <c:v>12.521285016497</c:v>
                </c:pt>
                <c:pt idx="13">
                  <c:v>17.735372359187998</c:v>
                </c:pt>
                <c:pt idx="14">
                  <c:v>25.238799126537</c:v>
                </c:pt>
                <c:pt idx="15">
                  <c:v>28.275677955165001</c:v>
                </c:pt>
                <c:pt idx="16">
                  <c:v>32.050751945214003</c:v>
                </c:pt>
                <c:pt idx="17">
                  <c:v>43.10499088142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34</c:v>
                </c:pt>
                <c:pt idx="1">
                  <c:v>63</c:v>
                </c:pt>
                <c:pt idx="2">
                  <c:v>74</c:v>
                </c:pt>
                <c:pt idx="3">
                  <c:v>61</c:v>
                </c:pt>
                <c:pt idx="4">
                  <c:v>35</c:v>
                </c:pt>
                <c:pt idx="5">
                  <c:v>38</c:v>
                </c:pt>
                <c:pt idx="6">
                  <c:v>61</c:v>
                </c:pt>
                <c:pt idx="7">
                  <c:v>69</c:v>
                </c:pt>
                <c:pt idx="8">
                  <c:v>55</c:v>
                </c:pt>
                <c:pt idx="9">
                  <c:v>73</c:v>
                </c:pt>
                <c:pt idx="10">
                  <c:v>64</c:v>
                </c:pt>
                <c:pt idx="11">
                  <c:v>52</c:v>
                </c:pt>
                <c:pt idx="12">
                  <c:v>53</c:v>
                </c:pt>
                <c:pt idx="13">
                  <c:v>33</c:v>
                </c:pt>
                <c:pt idx="14">
                  <c:v>40</c:v>
                </c:pt>
                <c:pt idx="15">
                  <c:v>47</c:v>
                </c:pt>
                <c:pt idx="16">
                  <c:v>51</c:v>
                </c:pt>
                <c:pt idx="17">
                  <c:v>118</c:v>
                </c:pt>
                <c:pt idx="18">
                  <c:v>126</c:v>
                </c:pt>
                <c:pt idx="19">
                  <c:v>42</c:v>
                </c:pt>
                <c:pt idx="20">
                  <c:v>50</c:v>
                </c:pt>
                <c:pt idx="21">
                  <c:v>64</c:v>
                </c:pt>
                <c:pt idx="22">
                  <c:v>89</c:v>
                </c:pt>
                <c:pt idx="23">
                  <c:v>127</c:v>
                </c:pt>
                <c:pt idx="24">
                  <c:v>93</c:v>
                </c:pt>
                <c:pt idx="25">
                  <c:v>168</c:v>
                </c:pt>
                <c:pt idx="26">
                  <c:v>260</c:v>
                </c:pt>
                <c:pt idx="27">
                  <c:v>305</c:v>
                </c:pt>
                <c:pt idx="28">
                  <c:v>201</c:v>
                </c:pt>
                <c:pt idx="29">
                  <c:v>149</c:v>
                </c:pt>
                <c:pt idx="30">
                  <c:v>91</c:v>
                </c:pt>
                <c:pt idx="31">
                  <c:v>132</c:v>
                </c:pt>
                <c:pt idx="32">
                  <c:v>140</c:v>
                </c:pt>
                <c:pt idx="33">
                  <c:v>121</c:v>
                </c:pt>
                <c:pt idx="34">
                  <c:v>75</c:v>
                </c:pt>
                <c:pt idx="35">
                  <c:v>51</c:v>
                </c:pt>
                <c:pt idx="36">
                  <c:v>118</c:v>
                </c:pt>
                <c:pt idx="37">
                  <c:v>129</c:v>
                </c:pt>
                <c:pt idx="38">
                  <c:v>105</c:v>
                </c:pt>
                <c:pt idx="39">
                  <c:v>141</c:v>
                </c:pt>
                <c:pt idx="40">
                  <c:v>53</c:v>
                </c:pt>
                <c:pt idx="41">
                  <c:v>59</c:v>
                </c:pt>
                <c:pt idx="42">
                  <c:v>64</c:v>
                </c:pt>
                <c:pt idx="43">
                  <c:v>104</c:v>
                </c:pt>
                <c:pt idx="44">
                  <c:v>134</c:v>
                </c:pt>
                <c:pt idx="45">
                  <c:v>137</c:v>
                </c:pt>
                <c:pt idx="46">
                  <c:v>128</c:v>
                </c:pt>
                <c:pt idx="47">
                  <c:v>112</c:v>
                </c:pt>
                <c:pt idx="48">
                  <c:v>91</c:v>
                </c:pt>
                <c:pt idx="49">
                  <c:v>168</c:v>
                </c:pt>
                <c:pt idx="50">
                  <c:v>207</c:v>
                </c:pt>
                <c:pt idx="51">
                  <c:v>245</c:v>
                </c:pt>
                <c:pt idx="52">
                  <c:v>231</c:v>
                </c:pt>
                <c:pt idx="53">
                  <c:v>278</c:v>
                </c:pt>
                <c:pt idx="54">
                  <c:v>132</c:v>
                </c:pt>
                <c:pt idx="55">
                  <c:v>114</c:v>
                </c:pt>
                <c:pt idx="56">
                  <c:v>194</c:v>
                </c:pt>
                <c:pt idx="57">
                  <c:v>276</c:v>
                </c:pt>
                <c:pt idx="58">
                  <c:v>274</c:v>
                </c:pt>
                <c:pt idx="59">
                  <c:v>254</c:v>
                </c:pt>
                <c:pt idx="60">
                  <c:v>231</c:v>
                </c:pt>
                <c:pt idx="61">
                  <c:v>124</c:v>
                </c:pt>
                <c:pt idx="62">
                  <c:v>101</c:v>
                </c:pt>
                <c:pt idx="63">
                  <c:v>208</c:v>
                </c:pt>
                <c:pt idx="64">
                  <c:v>287</c:v>
                </c:pt>
                <c:pt idx="65">
                  <c:v>241</c:v>
                </c:pt>
                <c:pt idx="66">
                  <c:v>214</c:v>
                </c:pt>
                <c:pt idx="67">
                  <c:v>322</c:v>
                </c:pt>
                <c:pt idx="68">
                  <c:v>173</c:v>
                </c:pt>
                <c:pt idx="69">
                  <c:v>122</c:v>
                </c:pt>
                <c:pt idx="70">
                  <c:v>141</c:v>
                </c:pt>
                <c:pt idx="71">
                  <c:v>288</c:v>
                </c:pt>
                <c:pt idx="72">
                  <c:v>289</c:v>
                </c:pt>
                <c:pt idx="73">
                  <c:v>330</c:v>
                </c:pt>
                <c:pt idx="74">
                  <c:v>291</c:v>
                </c:pt>
                <c:pt idx="75">
                  <c:v>197</c:v>
                </c:pt>
                <c:pt idx="76">
                  <c:v>121</c:v>
                </c:pt>
                <c:pt idx="77">
                  <c:v>191</c:v>
                </c:pt>
                <c:pt idx="78">
                  <c:v>281</c:v>
                </c:pt>
                <c:pt idx="79">
                  <c:v>313</c:v>
                </c:pt>
                <c:pt idx="80">
                  <c:v>246</c:v>
                </c:pt>
                <c:pt idx="81">
                  <c:v>504</c:v>
                </c:pt>
                <c:pt idx="82">
                  <c:v>234</c:v>
                </c:pt>
                <c:pt idx="83">
                  <c:v>136</c:v>
                </c:pt>
                <c:pt idx="84">
                  <c:v>259</c:v>
                </c:pt>
                <c:pt idx="85">
                  <c:v>364</c:v>
                </c:pt>
                <c:pt idx="86">
                  <c:v>396</c:v>
                </c:pt>
                <c:pt idx="87">
                  <c:v>350</c:v>
                </c:pt>
                <c:pt idx="88">
                  <c:v>485</c:v>
                </c:pt>
                <c:pt idx="89">
                  <c:v>320</c:v>
                </c:pt>
                <c:pt idx="90">
                  <c:v>274</c:v>
                </c:pt>
                <c:pt idx="91">
                  <c:v>256</c:v>
                </c:pt>
                <c:pt idx="92">
                  <c:v>498</c:v>
                </c:pt>
                <c:pt idx="93">
                  <c:v>645</c:v>
                </c:pt>
                <c:pt idx="94">
                  <c:v>675</c:v>
                </c:pt>
                <c:pt idx="95">
                  <c:v>797</c:v>
                </c:pt>
                <c:pt idx="96">
                  <c:v>504</c:v>
                </c:pt>
                <c:pt idx="97">
                  <c:v>410</c:v>
                </c:pt>
                <c:pt idx="98">
                  <c:v>561</c:v>
                </c:pt>
                <c:pt idx="99">
                  <c:v>1161</c:v>
                </c:pt>
                <c:pt idx="100">
                  <c:v>1158</c:v>
                </c:pt>
                <c:pt idx="101">
                  <c:v>1383</c:v>
                </c:pt>
                <c:pt idx="102">
                  <c:v>1442</c:v>
                </c:pt>
                <c:pt idx="103">
                  <c:v>1537</c:v>
                </c:pt>
                <c:pt idx="104">
                  <c:v>791</c:v>
                </c:pt>
                <c:pt idx="105">
                  <c:v>1028</c:v>
                </c:pt>
                <c:pt idx="106">
                  <c:v>1676</c:v>
                </c:pt>
                <c:pt idx="107">
                  <c:v>2133</c:v>
                </c:pt>
                <c:pt idx="108">
                  <c:v>3124</c:v>
                </c:pt>
                <c:pt idx="109">
                  <c:v>2108</c:v>
                </c:pt>
                <c:pt idx="110">
                  <c:v>2045</c:v>
                </c:pt>
                <c:pt idx="111">
                  <c:v>984</c:v>
                </c:pt>
                <c:pt idx="112">
                  <c:v>1476</c:v>
                </c:pt>
                <c:pt idx="113">
                  <c:v>2387</c:v>
                </c:pt>
                <c:pt idx="114">
                  <c:v>2306</c:v>
                </c:pt>
                <c:pt idx="115">
                  <c:v>2906</c:v>
                </c:pt>
                <c:pt idx="116">
                  <c:v>2945</c:v>
                </c:pt>
                <c:pt idx="117">
                  <c:v>1981</c:v>
                </c:pt>
                <c:pt idx="118">
                  <c:v>1304</c:v>
                </c:pt>
                <c:pt idx="119">
                  <c:v>1284</c:v>
                </c:pt>
                <c:pt idx="120">
                  <c:v>1963</c:v>
                </c:pt>
                <c:pt idx="121">
                  <c:v>2925</c:v>
                </c:pt>
                <c:pt idx="122">
                  <c:v>3503</c:v>
                </c:pt>
                <c:pt idx="123">
                  <c:v>3795</c:v>
                </c:pt>
                <c:pt idx="124">
                  <c:v>2554</c:v>
                </c:pt>
                <c:pt idx="125">
                  <c:v>1841</c:v>
                </c:pt>
                <c:pt idx="126">
                  <c:v>3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478</c:v>
                </c:pt>
                <c:pt idx="1">
                  <c:v>351</c:v>
                </c:pt>
                <c:pt idx="2">
                  <c:v>423</c:v>
                </c:pt>
                <c:pt idx="3">
                  <c:v>319</c:v>
                </c:pt>
                <c:pt idx="4">
                  <c:v>152</c:v>
                </c:pt>
                <c:pt idx="5">
                  <c:v>97</c:v>
                </c:pt>
                <c:pt idx="6">
                  <c:v>294</c:v>
                </c:pt>
                <c:pt idx="7">
                  <c:v>386</c:v>
                </c:pt>
                <c:pt idx="8">
                  <c:v>250</c:v>
                </c:pt>
                <c:pt idx="9">
                  <c:v>190</c:v>
                </c:pt>
                <c:pt idx="10">
                  <c:v>179</c:v>
                </c:pt>
                <c:pt idx="11">
                  <c:v>73</c:v>
                </c:pt>
                <c:pt idx="12">
                  <c:v>41</c:v>
                </c:pt>
                <c:pt idx="13">
                  <c:v>175</c:v>
                </c:pt>
                <c:pt idx="14">
                  <c:v>206</c:v>
                </c:pt>
                <c:pt idx="15">
                  <c:v>129</c:v>
                </c:pt>
                <c:pt idx="16">
                  <c:v>157</c:v>
                </c:pt>
                <c:pt idx="17">
                  <c:v>144</c:v>
                </c:pt>
                <c:pt idx="18">
                  <c:v>63</c:v>
                </c:pt>
                <c:pt idx="19">
                  <c:v>57</c:v>
                </c:pt>
                <c:pt idx="20">
                  <c:v>119</c:v>
                </c:pt>
                <c:pt idx="21">
                  <c:v>112</c:v>
                </c:pt>
                <c:pt idx="22">
                  <c:v>105</c:v>
                </c:pt>
                <c:pt idx="23">
                  <c:v>96</c:v>
                </c:pt>
                <c:pt idx="24">
                  <c:v>132</c:v>
                </c:pt>
                <c:pt idx="25">
                  <c:v>68</c:v>
                </c:pt>
                <c:pt idx="26">
                  <c:v>57</c:v>
                </c:pt>
                <c:pt idx="27">
                  <c:v>150</c:v>
                </c:pt>
                <c:pt idx="28">
                  <c:v>156</c:v>
                </c:pt>
                <c:pt idx="29">
                  <c:v>136</c:v>
                </c:pt>
                <c:pt idx="30">
                  <c:v>166</c:v>
                </c:pt>
                <c:pt idx="31">
                  <c:v>165</c:v>
                </c:pt>
                <c:pt idx="32">
                  <c:v>124</c:v>
                </c:pt>
                <c:pt idx="33">
                  <c:v>107</c:v>
                </c:pt>
                <c:pt idx="34">
                  <c:v>129</c:v>
                </c:pt>
                <c:pt idx="35">
                  <c:v>109</c:v>
                </c:pt>
                <c:pt idx="36">
                  <c:v>278</c:v>
                </c:pt>
                <c:pt idx="37">
                  <c:v>249</c:v>
                </c:pt>
                <c:pt idx="38">
                  <c:v>283</c:v>
                </c:pt>
                <c:pt idx="39">
                  <c:v>157</c:v>
                </c:pt>
                <c:pt idx="40">
                  <c:v>147</c:v>
                </c:pt>
                <c:pt idx="41">
                  <c:v>243</c:v>
                </c:pt>
                <c:pt idx="42">
                  <c:v>320</c:v>
                </c:pt>
                <c:pt idx="43">
                  <c:v>259</c:v>
                </c:pt>
                <c:pt idx="44">
                  <c:v>225</c:v>
                </c:pt>
                <c:pt idx="45">
                  <c:v>239</c:v>
                </c:pt>
                <c:pt idx="46">
                  <c:v>197</c:v>
                </c:pt>
                <c:pt idx="47">
                  <c:v>116</c:v>
                </c:pt>
                <c:pt idx="48">
                  <c:v>219</c:v>
                </c:pt>
                <c:pt idx="49">
                  <c:v>300</c:v>
                </c:pt>
                <c:pt idx="50">
                  <c:v>231</c:v>
                </c:pt>
                <c:pt idx="51">
                  <c:v>194</c:v>
                </c:pt>
                <c:pt idx="52">
                  <c:v>188</c:v>
                </c:pt>
                <c:pt idx="53">
                  <c:v>125</c:v>
                </c:pt>
                <c:pt idx="54">
                  <c:v>80</c:v>
                </c:pt>
                <c:pt idx="55">
                  <c:v>197</c:v>
                </c:pt>
                <c:pt idx="56">
                  <c:v>252</c:v>
                </c:pt>
                <c:pt idx="57">
                  <c:v>192</c:v>
                </c:pt>
                <c:pt idx="58">
                  <c:v>204</c:v>
                </c:pt>
                <c:pt idx="59">
                  <c:v>139</c:v>
                </c:pt>
                <c:pt idx="60">
                  <c:v>115</c:v>
                </c:pt>
                <c:pt idx="61">
                  <c:v>77</c:v>
                </c:pt>
                <c:pt idx="62">
                  <c:v>151</c:v>
                </c:pt>
                <c:pt idx="63">
                  <c:v>237</c:v>
                </c:pt>
                <c:pt idx="64">
                  <c:v>208</c:v>
                </c:pt>
                <c:pt idx="65">
                  <c:v>163</c:v>
                </c:pt>
                <c:pt idx="66">
                  <c:v>172</c:v>
                </c:pt>
                <c:pt idx="67">
                  <c:v>155</c:v>
                </c:pt>
                <c:pt idx="68">
                  <c:v>105</c:v>
                </c:pt>
                <c:pt idx="69">
                  <c:v>168</c:v>
                </c:pt>
                <c:pt idx="70">
                  <c:v>260</c:v>
                </c:pt>
                <c:pt idx="71">
                  <c:v>218</c:v>
                </c:pt>
                <c:pt idx="72">
                  <c:v>190</c:v>
                </c:pt>
                <c:pt idx="73">
                  <c:v>216</c:v>
                </c:pt>
                <c:pt idx="74">
                  <c:v>142</c:v>
                </c:pt>
                <c:pt idx="75">
                  <c:v>76</c:v>
                </c:pt>
                <c:pt idx="76">
                  <c:v>215</c:v>
                </c:pt>
                <c:pt idx="77">
                  <c:v>300</c:v>
                </c:pt>
                <c:pt idx="78">
                  <c:v>207</c:v>
                </c:pt>
                <c:pt idx="79">
                  <c:v>165</c:v>
                </c:pt>
                <c:pt idx="80">
                  <c:v>170</c:v>
                </c:pt>
                <c:pt idx="81">
                  <c:v>133</c:v>
                </c:pt>
                <c:pt idx="82">
                  <c:v>107</c:v>
                </c:pt>
                <c:pt idx="83">
                  <c:v>210</c:v>
                </c:pt>
                <c:pt idx="84">
                  <c:v>247</c:v>
                </c:pt>
                <c:pt idx="85">
                  <c:v>245</c:v>
                </c:pt>
                <c:pt idx="86">
                  <c:v>211</c:v>
                </c:pt>
                <c:pt idx="87">
                  <c:v>182</c:v>
                </c:pt>
                <c:pt idx="88">
                  <c:v>133</c:v>
                </c:pt>
                <c:pt idx="89">
                  <c:v>81</c:v>
                </c:pt>
                <c:pt idx="90">
                  <c:v>241</c:v>
                </c:pt>
                <c:pt idx="91">
                  <c:v>287</c:v>
                </c:pt>
                <c:pt idx="92">
                  <c:v>262</c:v>
                </c:pt>
                <c:pt idx="93">
                  <c:v>305</c:v>
                </c:pt>
                <c:pt idx="94">
                  <c:v>307</c:v>
                </c:pt>
                <c:pt idx="95">
                  <c:v>206</c:v>
                </c:pt>
                <c:pt idx="96">
                  <c:v>140</c:v>
                </c:pt>
                <c:pt idx="97">
                  <c:v>391</c:v>
                </c:pt>
                <c:pt idx="98">
                  <c:v>583</c:v>
                </c:pt>
                <c:pt idx="99">
                  <c:v>378</c:v>
                </c:pt>
                <c:pt idx="100">
                  <c:v>419</c:v>
                </c:pt>
                <c:pt idx="101">
                  <c:v>445</c:v>
                </c:pt>
                <c:pt idx="102">
                  <c:v>250</c:v>
                </c:pt>
                <c:pt idx="103">
                  <c:v>136</c:v>
                </c:pt>
                <c:pt idx="104">
                  <c:v>490</c:v>
                </c:pt>
                <c:pt idx="105">
                  <c:v>554</c:v>
                </c:pt>
                <c:pt idx="106">
                  <c:v>520</c:v>
                </c:pt>
                <c:pt idx="107">
                  <c:v>550</c:v>
                </c:pt>
                <c:pt idx="108">
                  <c:v>438</c:v>
                </c:pt>
                <c:pt idx="109">
                  <c:v>301</c:v>
                </c:pt>
                <c:pt idx="110">
                  <c:v>184</c:v>
                </c:pt>
                <c:pt idx="111">
                  <c:v>479</c:v>
                </c:pt>
                <c:pt idx="112">
                  <c:v>595</c:v>
                </c:pt>
                <c:pt idx="113">
                  <c:v>521</c:v>
                </c:pt>
                <c:pt idx="114">
                  <c:v>484</c:v>
                </c:pt>
                <c:pt idx="115">
                  <c:v>497</c:v>
                </c:pt>
                <c:pt idx="116">
                  <c:v>414</c:v>
                </c:pt>
                <c:pt idx="117">
                  <c:v>249</c:v>
                </c:pt>
                <c:pt idx="118">
                  <c:v>670</c:v>
                </c:pt>
                <c:pt idx="119">
                  <c:v>473</c:v>
                </c:pt>
                <c:pt idx="120">
                  <c:v>732</c:v>
                </c:pt>
                <c:pt idx="121">
                  <c:v>916</c:v>
                </c:pt>
                <c:pt idx="122">
                  <c:v>825</c:v>
                </c:pt>
                <c:pt idx="123">
                  <c:v>551</c:v>
                </c:pt>
                <c:pt idx="124">
                  <c:v>314</c:v>
                </c:pt>
                <c:pt idx="125">
                  <c:v>802</c:v>
                </c:pt>
                <c:pt idx="126">
                  <c:v>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</c:dateAx>
      <c:valAx>
        <c:axId val="494149648"/>
        <c:scaling>
          <c:orientation val="minMax"/>
          <c:max val="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0.112130911</c:v>
                </c:pt>
                <c:pt idx="1">
                  <c:v>0.28032727600000001</c:v>
                </c:pt>
                <c:pt idx="2">
                  <c:v>0.53262182499999999</c:v>
                </c:pt>
                <c:pt idx="3">
                  <c:v>1.0091781950000001</c:v>
                </c:pt>
                <c:pt idx="4">
                  <c:v>0.99048970999999997</c:v>
                </c:pt>
                <c:pt idx="5">
                  <c:v>0.83163758700000001</c:v>
                </c:pt>
                <c:pt idx="6">
                  <c:v>0.448523642</c:v>
                </c:pt>
                <c:pt idx="7">
                  <c:v>1.0558994079999999</c:v>
                </c:pt>
                <c:pt idx="8">
                  <c:v>0.90639152700000003</c:v>
                </c:pt>
                <c:pt idx="9">
                  <c:v>1.1119648630000001</c:v>
                </c:pt>
                <c:pt idx="10">
                  <c:v>1.2708169869999999</c:v>
                </c:pt>
                <c:pt idx="11">
                  <c:v>1.9529466929999999</c:v>
                </c:pt>
                <c:pt idx="12">
                  <c:v>3.1303212540000001</c:v>
                </c:pt>
                <c:pt idx="13">
                  <c:v>6.6624449380000001</c:v>
                </c:pt>
                <c:pt idx="14">
                  <c:v>19.884548150000001</c:v>
                </c:pt>
                <c:pt idx="15">
                  <c:v>35.115663499999997</c:v>
                </c:pt>
                <c:pt idx="16">
                  <c:v>49.150715810000001</c:v>
                </c:pt>
                <c:pt idx="17">
                  <c:v>65.48445178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7.2885091887069997</c:v>
                </c:pt>
                <c:pt idx="1">
                  <c:v>4.0740897516360004</c:v>
                </c:pt>
                <c:pt idx="2">
                  <c:v>2.0931103311160002</c:v>
                </c:pt>
                <c:pt idx="3">
                  <c:v>1.7660618418789999</c:v>
                </c:pt>
                <c:pt idx="4">
                  <c:v>2.373437607604</c:v>
                </c:pt>
                <c:pt idx="5">
                  <c:v>3.6909758071010002</c:v>
                </c:pt>
                <c:pt idx="6">
                  <c:v>3.8965491431929999</c:v>
                </c:pt>
                <c:pt idx="7">
                  <c:v>3.7096642922009999</c:v>
                </c:pt>
                <c:pt idx="8">
                  <c:v>2.9901576158799998</c:v>
                </c:pt>
                <c:pt idx="9">
                  <c:v>3.1676982243220002</c:v>
                </c:pt>
                <c:pt idx="10">
                  <c:v>3.4199927731619999</c:v>
                </c:pt>
                <c:pt idx="11">
                  <c:v>3.2331079221699999</c:v>
                </c:pt>
                <c:pt idx="12">
                  <c:v>3.5040909561090001</c:v>
                </c:pt>
                <c:pt idx="13">
                  <c:v>5.6158897723240004</c:v>
                </c:pt>
                <c:pt idx="14">
                  <c:v>8.2416219287689998</c:v>
                </c:pt>
                <c:pt idx="15">
                  <c:v>9.7927661920070008</c:v>
                </c:pt>
                <c:pt idx="16">
                  <c:v>11.157025604252</c:v>
                </c:pt>
                <c:pt idx="17">
                  <c:v>15.44603293453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9705715212827803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rgbClr val="002060"/>
                </a:solidFill>
                <a:prstDash val="sysDot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1.8075980392E-2</c:v>
                </c:pt>
                <c:pt idx="1">
                  <c:v>2.3075536325E-2</c:v>
                </c:pt>
                <c:pt idx="2">
                  <c:v>2.2736500202999999E-2</c:v>
                </c:pt>
                <c:pt idx="3">
                  <c:v>1.7012814846999999E-2</c:v>
                </c:pt>
                <c:pt idx="4">
                  <c:v>2.8339083292000002E-2</c:v>
                </c:pt>
                <c:pt idx="5">
                  <c:v>4.0416666666000002E-2</c:v>
                </c:pt>
                <c:pt idx="6">
                  <c:v>3.2973280272E-2</c:v>
                </c:pt>
                <c:pt idx="7">
                  <c:v>2.9399585921000001E-2</c:v>
                </c:pt>
                <c:pt idx="8">
                  <c:v>2.3738130933999999E-2</c:v>
                </c:pt>
                <c:pt idx="9">
                  <c:v>3.7599793972999999E-2</c:v>
                </c:pt>
                <c:pt idx="10">
                  <c:v>3.0975877192000002E-2</c:v>
                </c:pt>
                <c:pt idx="11">
                  <c:v>3.4917840375000002E-2</c:v>
                </c:pt>
                <c:pt idx="12">
                  <c:v>5.0222504766999999E-2</c:v>
                </c:pt>
                <c:pt idx="13">
                  <c:v>4.0567951317999999E-2</c:v>
                </c:pt>
                <c:pt idx="14">
                  <c:v>2.9056312676E-2</c:v>
                </c:pt>
                <c:pt idx="15">
                  <c:v>3.9477589788999998E-2</c:v>
                </c:pt>
                <c:pt idx="16">
                  <c:v>4.5838359469000001E-2</c:v>
                </c:pt>
                <c:pt idx="17">
                  <c:v>3.4137728074999998E-2</c:v>
                </c:pt>
                <c:pt idx="18">
                  <c:v>5.3213545266000001E-2</c:v>
                </c:pt>
                <c:pt idx="19">
                  <c:v>5.078125E-2</c:v>
                </c:pt>
                <c:pt idx="20">
                  <c:v>4.5939294503000001E-2</c:v>
                </c:pt>
                <c:pt idx="21">
                  <c:v>3.7337315980000001E-2</c:v>
                </c:pt>
                <c:pt idx="22">
                  <c:v>4.2558815754000001E-2</c:v>
                </c:pt>
                <c:pt idx="23">
                  <c:v>5.3549190534999999E-2</c:v>
                </c:pt>
                <c:pt idx="24">
                  <c:v>3.1276415890999998E-2</c:v>
                </c:pt>
                <c:pt idx="25">
                  <c:v>5.0128755364000001E-2</c:v>
                </c:pt>
                <c:pt idx="26">
                  <c:v>0.14337204645500001</c:v>
                </c:pt>
                <c:pt idx="27">
                  <c:v>0.14380899500200001</c:v>
                </c:pt>
                <c:pt idx="28">
                  <c:v>4.1826631641999998E-2</c:v>
                </c:pt>
                <c:pt idx="29">
                  <c:v>4.6535154273999998E-2</c:v>
                </c:pt>
                <c:pt idx="30">
                  <c:v>3.5326086956000001E-2</c:v>
                </c:pt>
                <c:pt idx="31">
                  <c:v>4.757609921E-2</c:v>
                </c:pt>
                <c:pt idx="32">
                  <c:v>4.7609441193999999E-2</c:v>
                </c:pt>
                <c:pt idx="33">
                  <c:v>9.0586145647999994E-2</c:v>
                </c:pt>
                <c:pt idx="34">
                  <c:v>7.6923076923000003E-2</c:v>
                </c:pt>
                <c:pt idx="35">
                  <c:v>5.4677206850999999E-2</c:v>
                </c:pt>
                <c:pt idx="36">
                  <c:v>4.6905410665000001E-2</c:v>
                </c:pt>
                <c:pt idx="37">
                  <c:v>4.5196634708999997E-2</c:v>
                </c:pt>
                <c:pt idx="38">
                  <c:v>3.6327345309000003E-2</c:v>
                </c:pt>
                <c:pt idx="39">
                  <c:v>4.4881715675000003E-2</c:v>
                </c:pt>
                <c:pt idx="40">
                  <c:v>5.3775743707000001E-2</c:v>
                </c:pt>
                <c:pt idx="41">
                  <c:v>7.3091849934999994E-2</c:v>
                </c:pt>
                <c:pt idx="42">
                  <c:v>3.5968299125999997E-2</c:v>
                </c:pt>
                <c:pt idx="43">
                  <c:v>4.0281973816000002E-2</c:v>
                </c:pt>
                <c:pt idx="44">
                  <c:v>4.448071822E-2</c:v>
                </c:pt>
                <c:pt idx="45">
                  <c:v>4.1322314048999997E-2</c:v>
                </c:pt>
                <c:pt idx="46">
                  <c:v>4.7213114754000002E-2</c:v>
                </c:pt>
                <c:pt idx="47">
                  <c:v>5.0335570469000002E-2</c:v>
                </c:pt>
                <c:pt idx="48">
                  <c:v>3.8508807865000001E-2</c:v>
                </c:pt>
                <c:pt idx="49">
                  <c:v>3.5398230087999999E-2</c:v>
                </c:pt>
                <c:pt idx="50">
                  <c:v>4.2383484515999999E-2</c:v>
                </c:pt>
                <c:pt idx="51">
                  <c:v>3.8473189941999997E-2</c:v>
                </c:pt>
                <c:pt idx="52">
                  <c:v>4.0355992020000002E-2</c:v>
                </c:pt>
                <c:pt idx="53">
                  <c:v>4.3135968508999999E-2</c:v>
                </c:pt>
                <c:pt idx="54">
                  <c:v>4.2496171515999999E-2</c:v>
                </c:pt>
                <c:pt idx="55">
                  <c:v>4.7032474804000003E-2</c:v>
                </c:pt>
                <c:pt idx="56">
                  <c:v>3.8602380225000003E-2</c:v>
                </c:pt>
                <c:pt idx="57">
                  <c:v>4.0965988113999999E-2</c:v>
                </c:pt>
                <c:pt idx="58">
                  <c:v>4.2748701558E-2</c:v>
                </c:pt>
                <c:pt idx="59">
                  <c:v>3.9223402859000001E-2</c:v>
                </c:pt>
                <c:pt idx="60">
                  <c:v>3.3755788447000001E-2</c:v>
                </c:pt>
                <c:pt idx="61">
                  <c:v>2.6762956668999999E-2</c:v>
                </c:pt>
                <c:pt idx="62">
                  <c:v>3.7023044955999999E-2</c:v>
                </c:pt>
                <c:pt idx="63">
                  <c:v>3.1629227987999997E-2</c:v>
                </c:pt>
                <c:pt idx="64">
                  <c:v>3.8744948894E-2</c:v>
                </c:pt>
                <c:pt idx="65">
                  <c:v>4.0316774658000001E-2</c:v>
                </c:pt>
                <c:pt idx="66">
                  <c:v>3.5588155391999998E-2</c:v>
                </c:pt>
                <c:pt idx="67">
                  <c:v>4.2472300673000001E-2</c:v>
                </c:pt>
                <c:pt idx="68">
                  <c:v>3.2843404100000001E-2</c:v>
                </c:pt>
                <c:pt idx="69">
                  <c:v>3.9617486338000003E-2</c:v>
                </c:pt>
                <c:pt idx="70">
                  <c:v>3.1466913465000003E-2</c:v>
                </c:pt>
                <c:pt idx="71">
                  <c:v>3.3705280109999999E-2</c:v>
                </c:pt>
                <c:pt idx="72">
                  <c:v>3.9636455440000003E-2</c:v>
                </c:pt>
                <c:pt idx="73">
                  <c:v>4.7490555854999998E-2</c:v>
                </c:pt>
                <c:pt idx="74">
                  <c:v>4.1880235028999999E-2</c:v>
                </c:pt>
                <c:pt idx="75">
                  <c:v>4.5765695285999997E-2</c:v>
                </c:pt>
                <c:pt idx="76">
                  <c:v>3.9274924470999999E-2</c:v>
                </c:pt>
                <c:pt idx="77">
                  <c:v>2.9784886927000001E-2</c:v>
                </c:pt>
                <c:pt idx="78">
                  <c:v>4.1872561768E-2</c:v>
                </c:pt>
                <c:pt idx="79">
                  <c:v>4.3892880469999999E-2</c:v>
                </c:pt>
                <c:pt idx="80">
                  <c:v>5.1468803107E-2</c:v>
                </c:pt>
                <c:pt idx="81">
                  <c:v>4.2627677099999997E-2</c:v>
                </c:pt>
                <c:pt idx="82">
                  <c:v>4.5330207111999997E-2</c:v>
                </c:pt>
                <c:pt idx="83">
                  <c:v>5.8652246255999997E-2</c:v>
                </c:pt>
                <c:pt idx="84">
                  <c:v>3.8850667744999998E-2</c:v>
                </c:pt>
                <c:pt idx="85">
                  <c:v>4.5646468103999999E-2</c:v>
                </c:pt>
                <c:pt idx="86">
                  <c:v>4.7383230163000001E-2</c:v>
                </c:pt>
                <c:pt idx="87">
                  <c:v>4.5444661882999997E-2</c:v>
                </c:pt>
                <c:pt idx="88">
                  <c:v>5.0055411894999999E-2</c:v>
                </c:pt>
                <c:pt idx="89">
                  <c:v>6.3745626045000003E-2</c:v>
                </c:pt>
                <c:pt idx="90">
                  <c:v>4.7643182970000003E-2</c:v>
                </c:pt>
                <c:pt idx="91">
                  <c:v>4.3858713049999998E-2</c:v>
                </c:pt>
                <c:pt idx="92">
                  <c:v>5.3335727754000001E-2</c:v>
                </c:pt>
                <c:pt idx="93">
                  <c:v>5.7747671463999999E-2</c:v>
                </c:pt>
                <c:pt idx="94">
                  <c:v>6.6112121999000004E-2</c:v>
                </c:pt>
                <c:pt idx="95">
                  <c:v>6.5621795809999994E-2</c:v>
                </c:pt>
                <c:pt idx="96">
                  <c:v>7.1237279057000003E-2</c:v>
                </c:pt>
                <c:pt idx="97">
                  <c:v>7.6923076923000003E-2</c:v>
                </c:pt>
                <c:pt idx="98">
                  <c:v>7.0665287830999998E-2</c:v>
                </c:pt>
                <c:pt idx="99">
                  <c:v>8.2655910641999994E-2</c:v>
                </c:pt>
                <c:pt idx="100">
                  <c:v>8.4349003675000006E-2</c:v>
                </c:pt>
                <c:pt idx="101">
                  <c:v>9.5258281353999996E-2</c:v>
                </c:pt>
                <c:pt idx="102">
                  <c:v>9.5540406930999994E-2</c:v>
                </c:pt>
                <c:pt idx="103">
                  <c:v>0.106330254561</c:v>
                </c:pt>
                <c:pt idx="104">
                  <c:v>0.110155148095</c:v>
                </c:pt>
                <c:pt idx="105">
                  <c:v>9.0016553456000001E-2</c:v>
                </c:pt>
                <c:pt idx="106">
                  <c:v>0.107277259175</c:v>
                </c:pt>
                <c:pt idx="107">
                  <c:v>0.114344003497</c:v>
                </c:pt>
                <c:pt idx="108">
                  <c:v>0.118255414741</c:v>
                </c:pt>
                <c:pt idx="109">
                  <c:v>0.114087117701</c:v>
                </c:pt>
                <c:pt idx="110">
                  <c:v>0.11627601601900001</c:v>
                </c:pt>
                <c:pt idx="111">
                  <c:v>0.102547107281</c:v>
                </c:pt>
                <c:pt idx="112">
                  <c:v>9.4641937144999994E-2</c:v>
                </c:pt>
                <c:pt idx="113">
                  <c:v>0.10968749999999999</c:v>
                </c:pt>
                <c:pt idx="114">
                  <c:v>0.12029405212700001</c:v>
                </c:pt>
                <c:pt idx="115">
                  <c:v>0.12662435781199999</c:v>
                </c:pt>
                <c:pt idx="116">
                  <c:v>0.132154591042</c:v>
                </c:pt>
                <c:pt idx="117">
                  <c:v>0.12470756433500001</c:v>
                </c:pt>
                <c:pt idx="118">
                  <c:v>0.12877340466100001</c:v>
                </c:pt>
                <c:pt idx="119">
                  <c:v>0.11851366835799999</c:v>
                </c:pt>
                <c:pt idx="120">
                  <c:v>0.121220390787</c:v>
                </c:pt>
                <c:pt idx="121">
                  <c:v>0.14432012137299999</c:v>
                </c:pt>
                <c:pt idx="122">
                  <c:v>0.152836419882</c:v>
                </c:pt>
                <c:pt idx="123">
                  <c:v>0.174542070307</c:v>
                </c:pt>
                <c:pt idx="124">
                  <c:v>0.183935267416</c:v>
                </c:pt>
                <c:pt idx="125">
                  <c:v>0.21553497942300001</c:v>
                </c:pt>
                <c:pt idx="126">
                  <c:v>0.191467807294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6">
                    <a:lumMod val="75000"/>
                  </a:schemeClr>
                </a:solidFill>
                <a:prstDash val="sysDot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2.2333566379000001E-2</c:v>
                </c:pt>
                <c:pt idx="1">
                  <c:v>1.7889768574000001E-2</c:v>
                </c:pt>
                <c:pt idx="2">
                  <c:v>1.2602153822000001E-2</c:v>
                </c:pt>
                <c:pt idx="3">
                  <c:v>1.2953367875E-2</c:v>
                </c:pt>
                <c:pt idx="4">
                  <c:v>1.3265898349999999E-2</c:v>
                </c:pt>
                <c:pt idx="5">
                  <c:v>1.3654753877000001E-2</c:v>
                </c:pt>
                <c:pt idx="6">
                  <c:v>1.026655364E-2</c:v>
                </c:pt>
                <c:pt idx="7">
                  <c:v>1.7655547067E-2</c:v>
                </c:pt>
                <c:pt idx="8">
                  <c:v>9.5800524930000006E-3</c:v>
                </c:pt>
                <c:pt idx="9">
                  <c:v>9.5863490379999999E-3</c:v>
                </c:pt>
                <c:pt idx="10">
                  <c:v>7.8325263450000002E-3</c:v>
                </c:pt>
                <c:pt idx="11">
                  <c:v>5.9996756929999997E-3</c:v>
                </c:pt>
                <c:pt idx="12">
                  <c:v>8.3918217879999993E-3</c:v>
                </c:pt>
                <c:pt idx="13">
                  <c:v>6.0390763760000002E-3</c:v>
                </c:pt>
                <c:pt idx="14">
                  <c:v>6.9199163840000001E-3</c:v>
                </c:pt>
                <c:pt idx="15">
                  <c:v>4.7310434210000004E-3</c:v>
                </c:pt>
                <c:pt idx="16">
                  <c:v>4.761247584E-3</c:v>
                </c:pt>
                <c:pt idx="17">
                  <c:v>3.9391178510000003E-3</c:v>
                </c:pt>
                <c:pt idx="18">
                  <c:v>4.8769674120000004E-3</c:v>
                </c:pt>
                <c:pt idx="19">
                  <c:v>6.5987663169999999E-3</c:v>
                </c:pt>
                <c:pt idx="20">
                  <c:v>3.6800309889999999E-3</c:v>
                </c:pt>
                <c:pt idx="21">
                  <c:v>4.4395116529999997E-3</c:v>
                </c:pt>
                <c:pt idx="22">
                  <c:v>5.1279930519999998E-3</c:v>
                </c:pt>
                <c:pt idx="23">
                  <c:v>3.9647873119999996E-3</c:v>
                </c:pt>
                <c:pt idx="24">
                  <c:v>4.4825500719999998E-3</c:v>
                </c:pt>
                <c:pt idx="25">
                  <c:v>3.0105368789999998E-3</c:v>
                </c:pt>
                <c:pt idx="26">
                  <c:v>6.7796610160000001E-3</c:v>
                </c:pt>
                <c:pt idx="27">
                  <c:v>4.2168118440000001E-3</c:v>
                </c:pt>
                <c:pt idx="28">
                  <c:v>3.9891205799999999E-3</c:v>
                </c:pt>
                <c:pt idx="29">
                  <c:v>4.338948443E-3</c:v>
                </c:pt>
                <c:pt idx="30">
                  <c:v>3.1725238959999999E-3</c:v>
                </c:pt>
                <c:pt idx="31">
                  <c:v>3.4166733660000001E-3</c:v>
                </c:pt>
                <c:pt idx="32">
                  <c:v>4.7278201839999999E-3</c:v>
                </c:pt>
                <c:pt idx="33">
                  <c:v>6.1675384489999997E-3</c:v>
                </c:pt>
                <c:pt idx="34">
                  <c:v>9.8456206669999997E-3</c:v>
                </c:pt>
                <c:pt idx="35">
                  <c:v>8.8898077320000001E-3</c:v>
                </c:pt>
                <c:pt idx="36">
                  <c:v>1.1578769438E-2</c:v>
                </c:pt>
                <c:pt idx="37">
                  <c:v>8.2513989439999998E-3</c:v>
                </c:pt>
                <c:pt idx="38">
                  <c:v>7.2190668290000003E-3</c:v>
                </c:pt>
                <c:pt idx="39">
                  <c:v>6.8737864070000003E-3</c:v>
                </c:pt>
                <c:pt idx="40">
                  <c:v>1.1301417941E-2</c:v>
                </c:pt>
                <c:pt idx="41">
                  <c:v>7.6750774090000003E-3</c:v>
                </c:pt>
                <c:pt idx="42">
                  <c:v>1.0882943577000001E-2</c:v>
                </c:pt>
                <c:pt idx="43">
                  <c:v>8.8241329770000002E-3</c:v>
                </c:pt>
                <c:pt idx="44">
                  <c:v>6.5150946430000004E-3</c:v>
                </c:pt>
                <c:pt idx="45">
                  <c:v>5.2594445510000002E-3</c:v>
                </c:pt>
                <c:pt idx="46">
                  <c:v>6.2667860339999997E-3</c:v>
                </c:pt>
                <c:pt idx="47">
                  <c:v>7.6966932719999999E-3</c:v>
                </c:pt>
                <c:pt idx="48">
                  <c:v>7.9518308839999999E-3</c:v>
                </c:pt>
                <c:pt idx="49">
                  <c:v>9.5592313460000009E-3</c:v>
                </c:pt>
                <c:pt idx="50">
                  <c:v>9.1353664329999994E-3</c:v>
                </c:pt>
                <c:pt idx="51">
                  <c:v>6.0502881079999996E-3</c:v>
                </c:pt>
                <c:pt idx="52">
                  <c:v>4.1635687730000003E-3</c:v>
                </c:pt>
                <c:pt idx="53">
                  <c:v>4.4647190130000002E-3</c:v>
                </c:pt>
                <c:pt idx="54">
                  <c:v>6.1967467069999997E-3</c:v>
                </c:pt>
                <c:pt idx="55">
                  <c:v>4.9996875190000001E-3</c:v>
                </c:pt>
                <c:pt idx="56">
                  <c:v>7.2916372260000001E-3</c:v>
                </c:pt>
                <c:pt idx="57">
                  <c:v>6.5452562040000002E-3</c:v>
                </c:pt>
                <c:pt idx="58">
                  <c:v>6.3334258529999998E-3</c:v>
                </c:pt>
                <c:pt idx="59">
                  <c:v>3.0701072590000001E-3</c:v>
                </c:pt>
                <c:pt idx="60">
                  <c:v>3.073797877E-3</c:v>
                </c:pt>
                <c:pt idx="61">
                  <c:v>4.8780487799999998E-3</c:v>
                </c:pt>
                <c:pt idx="62">
                  <c:v>5.2874503380000003E-3</c:v>
                </c:pt>
                <c:pt idx="63">
                  <c:v>7.395854296E-3</c:v>
                </c:pt>
                <c:pt idx="64">
                  <c:v>7.8762846980000006E-3</c:v>
                </c:pt>
                <c:pt idx="65">
                  <c:v>5.8255782379999996E-3</c:v>
                </c:pt>
                <c:pt idx="66">
                  <c:v>3.3783149709999999E-3</c:v>
                </c:pt>
                <c:pt idx="67">
                  <c:v>3.4414055419999998E-3</c:v>
                </c:pt>
                <c:pt idx="68">
                  <c:v>5.3248681580000002E-3</c:v>
                </c:pt>
                <c:pt idx="69">
                  <c:v>6.0141509430000004E-3</c:v>
                </c:pt>
                <c:pt idx="70">
                  <c:v>7.9812206570000002E-3</c:v>
                </c:pt>
                <c:pt idx="71">
                  <c:v>7.3784986879999997E-3</c:v>
                </c:pt>
                <c:pt idx="72">
                  <c:v>6.2362623310000002E-3</c:v>
                </c:pt>
                <c:pt idx="73">
                  <c:v>4.0599914719999996E-3</c:v>
                </c:pt>
                <c:pt idx="74">
                  <c:v>3.9450686640000003E-3</c:v>
                </c:pt>
                <c:pt idx="75">
                  <c:v>5.1132213290000002E-3</c:v>
                </c:pt>
                <c:pt idx="76">
                  <c:v>7.7571669470000004E-3</c:v>
                </c:pt>
                <c:pt idx="77">
                  <c:v>8.7525417729999999E-3</c:v>
                </c:pt>
                <c:pt idx="78">
                  <c:v>8.5341836250000004E-3</c:v>
                </c:pt>
                <c:pt idx="79">
                  <c:v>6.2925633339999997E-3</c:v>
                </c:pt>
                <c:pt idx="80">
                  <c:v>4.3723464919999998E-3</c:v>
                </c:pt>
                <c:pt idx="81">
                  <c:v>4.7891446050000001E-3</c:v>
                </c:pt>
                <c:pt idx="82">
                  <c:v>6.8274080450000003E-3</c:v>
                </c:pt>
                <c:pt idx="83">
                  <c:v>7.6480030209999999E-3</c:v>
                </c:pt>
                <c:pt idx="84">
                  <c:v>9.1155540489999999E-3</c:v>
                </c:pt>
                <c:pt idx="85">
                  <c:v>1.1062865773000001E-2</c:v>
                </c:pt>
                <c:pt idx="86">
                  <c:v>7.4277574269999997E-3</c:v>
                </c:pt>
                <c:pt idx="87">
                  <c:v>7.8765680200000004E-3</c:v>
                </c:pt>
                <c:pt idx="88">
                  <c:v>9.2369702729999999E-3</c:v>
                </c:pt>
                <c:pt idx="89">
                  <c:v>7.8244080879999994E-3</c:v>
                </c:pt>
                <c:pt idx="90">
                  <c:v>8.8624197949999997E-3</c:v>
                </c:pt>
                <c:pt idx="91">
                  <c:v>8.8409895789999995E-3</c:v>
                </c:pt>
                <c:pt idx="92">
                  <c:v>6.0562659840000003E-3</c:v>
                </c:pt>
                <c:pt idx="93">
                  <c:v>5.6139317159999997E-3</c:v>
                </c:pt>
                <c:pt idx="94">
                  <c:v>1.1708622564E-2</c:v>
                </c:pt>
                <c:pt idx="95">
                  <c:v>1.4740290126E-2</c:v>
                </c:pt>
                <c:pt idx="96">
                  <c:v>1.6833852183999999E-2</c:v>
                </c:pt>
                <c:pt idx="97">
                  <c:v>9.2967868629999992E-3</c:v>
                </c:pt>
                <c:pt idx="98">
                  <c:v>1.3405871955000001E-2</c:v>
                </c:pt>
                <c:pt idx="99">
                  <c:v>1.5736868221000001E-2</c:v>
                </c:pt>
                <c:pt idx="100">
                  <c:v>1.6439239282000001E-2</c:v>
                </c:pt>
                <c:pt idx="101">
                  <c:v>1.7122586806000002E-2</c:v>
                </c:pt>
                <c:pt idx="102">
                  <c:v>1.5692200395000001E-2</c:v>
                </c:pt>
                <c:pt idx="103">
                  <c:v>1.5613740091E-2</c:v>
                </c:pt>
                <c:pt idx="104">
                  <c:v>2.2479039201999999E-2</c:v>
                </c:pt>
                <c:pt idx="105">
                  <c:v>2.5923666782000001E-2</c:v>
                </c:pt>
                <c:pt idx="106">
                  <c:v>2.3589308441999999E-2</c:v>
                </c:pt>
                <c:pt idx="107">
                  <c:v>2.1646389634999999E-2</c:v>
                </c:pt>
                <c:pt idx="108">
                  <c:v>1.6932918277000001E-2</c:v>
                </c:pt>
                <c:pt idx="109">
                  <c:v>1.9523921199999999E-2</c:v>
                </c:pt>
                <c:pt idx="110">
                  <c:v>2.3302180685E-2</c:v>
                </c:pt>
                <c:pt idx="111">
                  <c:v>2.034646184E-2</c:v>
                </c:pt>
                <c:pt idx="112">
                  <c:v>2.6953173518000001E-2</c:v>
                </c:pt>
                <c:pt idx="113">
                  <c:v>2.1637561273999999E-2</c:v>
                </c:pt>
                <c:pt idx="114">
                  <c:v>1.5870612108000001E-2</c:v>
                </c:pt>
                <c:pt idx="115">
                  <c:v>1.4980857792000001E-2</c:v>
                </c:pt>
                <c:pt idx="116">
                  <c:v>2.3585404547000002E-2</c:v>
                </c:pt>
                <c:pt idx="117">
                  <c:v>2.8953771289000001E-2</c:v>
                </c:pt>
                <c:pt idx="118">
                  <c:v>2.771029769E-2</c:v>
                </c:pt>
                <c:pt idx="119">
                  <c:v>3.4218450588E-2</c:v>
                </c:pt>
                <c:pt idx="120">
                  <c:v>3.3979232338000001E-2</c:v>
                </c:pt>
                <c:pt idx="121">
                  <c:v>3.3866352464999999E-2</c:v>
                </c:pt>
                <c:pt idx="122">
                  <c:v>2.9572495849E-2</c:v>
                </c:pt>
                <c:pt idx="123">
                  <c:v>3.8915338438999997E-2</c:v>
                </c:pt>
                <c:pt idx="124">
                  <c:v>3.8784988074999999E-2</c:v>
                </c:pt>
                <c:pt idx="125">
                  <c:v>3.9972527472000002E-2</c:v>
                </c:pt>
                <c:pt idx="126">
                  <c:v>4.7262882575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0.2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\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0.82210242587600002</c:v>
                </c:pt>
                <c:pt idx="1">
                  <c:v>0.81282051282000001</c:v>
                </c:pt>
                <c:pt idx="2">
                  <c:v>0.91237113402000003</c:v>
                </c:pt>
                <c:pt idx="3">
                  <c:v>1.046376811594</c:v>
                </c:pt>
                <c:pt idx="4">
                  <c:v>1.0660377358490001</c:v>
                </c:pt>
                <c:pt idx="5">
                  <c:v>1.1245901639339999</c:v>
                </c:pt>
                <c:pt idx="6">
                  <c:v>1.154574132492</c:v>
                </c:pt>
                <c:pt idx="7">
                  <c:v>1.132768361581</c:v>
                </c:pt>
                <c:pt idx="8">
                  <c:v>1.0886426592789999</c:v>
                </c:pt>
                <c:pt idx="9">
                  <c:v>1.15634218289</c:v>
                </c:pt>
                <c:pt idx="10">
                  <c:v>1.1516034985420001</c:v>
                </c:pt>
                <c:pt idx="11">
                  <c:v>1.125683060109</c:v>
                </c:pt>
                <c:pt idx="12">
                  <c:v>1.064837905236</c:v>
                </c:pt>
                <c:pt idx="13">
                  <c:v>1.015267175572</c:v>
                </c:pt>
                <c:pt idx="14">
                  <c:v>0.94387755102000004</c:v>
                </c:pt>
                <c:pt idx="15">
                  <c:v>0.91645569620199996</c:v>
                </c:pt>
                <c:pt idx="16">
                  <c:v>0.82524271844599995</c:v>
                </c:pt>
                <c:pt idx="17">
                  <c:v>0.92271662763399998</c:v>
                </c:pt>
                <c:pt idx="18">
                  <c:v>1.1729323308270001</c:v>
                </c:pt>
                <c:pt idx="19">
                  <c:v>1.2378378378370001</c:v>
                </c:pt>
                <c:pt idx="20">
                  <c:v>1.3121546961320001</c:v>
                </c:pt>
                <c:pt idx="21">
                  <c:v>1.467647058823</c:v>
                </c:pt>
                <c:pt idx="22">
                  <c:v>1.3730964467</c:v>
                </c:pt>
                <c:pt idx="23">
                  <c:v>1.318376068376</c:v>
                </c:pt>
                <c:pt idx="24">
                  <c:v>1.292576419213</c:v>
                </c:pt>
                <c:pt idx="25">
                  <c:v>1.3347368421050001</c:v>
                </c:pt>
                <c:pt idx="26">
                  <c:v>1.705410821643</c:v>
                </c:pt>
                <c:pt idx="27">
                  <c:v>2.0443622920509998</c:v>
                </c:pt>
                <c:pt idx="28">
                  <c:v>2.0145867098860002</c:v>
                </c:pt>
                <c:pt idx="29">
                  <c:v>2.2010135135129998</c:v>
                </c:pt>
                <c:pt idx="30">
                  <c:v>1.9984227129329999</c:v>
                </c:pt>
                <c:pt idx="31">
                  <c:v>1.534665099882</c:v>
                </c:pt>
                <c:pt idx="32">
                  <c:v>1.1555153707050001</c:v>
                </c:pt>
                <c:pt idx="33">
                  <c:v>0.91633145615400002</c:v>
                </c:pt>
                <c:pt idx="34">
                  <c:v>0.69762087490400004</c:v>
                </c:pt>
                <c:pt idx="35">
                  <c:v>0.59905288081999997</c:v>
                </c:pt>
                <c:pt idx="36">
                  <c:v>0.55742725880499999</c:v>
                </c:pt>
                <c:pt idx="37">
                  <c:v>0.59937402190900002</c:v>
                </c:pt>
                <c:pt idx="38">
                  <c:v>0.64881474977999998</c:v>
                </c:pt>
                <c:pt idx="39">
                  <c:v>0.81408140813999996</c:v>
                </c:pt>
                <c:pt idx="40">
                  <c:v>0.88537549407100002</c:v>
                </c:pt>
                <c:pt idx="41">
                  <c:v>0.90109890109799995</c:v>
                </c:pt>
                <c:pt idx="42">
                  <c:v>0.87336814621400005</c:v>
                </c:pt>
                <c:pt idx="43">
                  <c:v>0.886332882273</c:v>
                </c:pt>
                <c:pt idx="44">
                  <c:v>0.89189189189100004</c:v>
                </c:pt>
                <c:pt idx="45">
                  <c:v>1.029761904761</c:v>
                </c:pt>
                <c:pt idx="46">
                  <c:v>1.0350609756089999</c:v>
                </c:pt>
                <c:pt idx="47">
                  <c:v>1.1031390134520001</c:v>
                </c:pt>
                <c:pt idx="48">
                  <c:v>1.175572519083</c:v>
                </c:pt>
                <c:pt idx="49">
                  <c:v>1.3242424242419999</c:v>
                </c:pt>
                <c:pt idx="50">
                  <c:v>1.4118497109820001</c:v>
                </c:pt>
                <c:pt idx="51">
                  <c:v>1.60235640648</c:v>
                </c:pt>
                <c:pt idx="52">
                  <c:v>1.60162601626</c:v>
                </c:pt>
                <c:pt idx="53">
                  <c:v>1.7298701298700001</c:v>
                </c:pt>
                <c:pt idx="54">
                  <c:v>1.5469107551479999</c:v>
                </c:pt>
                <c:pt idx="55">
                  <c:v>1.4073694984639999</c:v>
                </c:pt>
                <c:pt idx="56">
                  <c:v>1.287683823529</c:v>
                </c:pt>
                <c:pt idx="57">
                  <c:v>1.2436548223349999</c:v>
                </c:pt>
                <c:pt idx="58">
                  <c:v>1.125375375375</c:v>
                </c:pt>
                <c:pt idx="59">
                  <c:v>1.1257396449699999</c:v>
                </c:pt>
                <c:pt idx="60">
                  <c:v>1.0727272727270001</c:v>
                </c:pt>
                <c:pt idx="61">
                  <c:v>1.047109207708</c:v>
                </c:pt>
                <c:pt idx="62">
                  <c:v>0.98911564625799997</c:v>
                </c:pt>
                <c:pt idx="63">
                  <c:v>0.97931954636399998</c:v>
                </c:pt>
                <c:pt idx="64">
                  <c:v>0.97174770039400005</c:v>
                </c:pt>
                <c:pt idx="65">
                  <c:v>0.98033898305</c:v>
                </c:pt>
                <c:pt idx="66">
                  <c:v>0.95841854124000003</c:v>
                </c:pt>
                <c:pt idx="67">
                  <c:v>1.0295735900959999</c:v>
                </c:pt>
                <c:pt idx="68">
                  <c:v>1.0531335149859999</c:v>
                </c:pt>
                <c:pt idx="69">
                  <c:v>1.0594996619329999</c:v>
                </c:pt>
                <c:pt idx="70">
                  <c:v>1.0373443983399999</c:v>
                </c:pt>
                <c:pt idx="71">
                  <c:v>1.067567567567</c:v>
                </c:pt>
                <c:pt idx="72">
                  <c:v>1.034736138944</c:v>
                </c:pt>
                <c:pt idx="73">
                  <c:v>1.0769728331170001</c:v>
                </c:pt>
                <c:pt idx="74">
                  <c:v>1.0427568602420001</c:v>
                </c:pt>
                <c:pt idx="75">
                  <c:v>1.105333333333</c:v>
                </c:pt>
                <c:pt idx="76">
                  <c:v>1.103930712858</c:v>
                </c:pt>
                <c:pt idx="77">
                  <c:v>1.1020012911549999</c:v>
                </c:pt>
                <c:pt idx="78">
                  <c:v>1.021021021021</c:v>
                </c:pt>
                <c:pt idx="79">
                  <c:v>1.055079559363</c:v>
                </c:pt>
                <c:pt idx="80">
                  <c:v>0.989143546441</c:v>
                </c:pt>
                <c:pt idx="81">
                  <c:v>1.1182860591429999</c:v>
                </c:pt>
                <c:pt idx="82">
                  <c:v>1.107205623901</c:v>
                </c:pt>
                <c:pt idx="83">
                  <c:v>1.120588235294</c:v>
                </c:pt>
                <c:pt idx="84">
                  <c:v>1.144431554524</c:v>
                </c:pt>
                <c:pt idx="85">
                  <c:v>1.2536585365849999</c:v>
                </c:pt>
                <c:pt idx="86">
                  <c:v>1.154344306529</c:v>
                </c:pt>
                <c:pt idx="87">
                  <c:v>1.186772486772</c:v>
                </c:pt>
                <c:pt idx="88">
                  <c:v>1.167454068241</c:v>
                </c:pt>
                <c:pt idx="89">
                  <c:v>1.1708058793709999</c:v>
                </c:pt>
                <c:pt idx="90">
                  <c:v>1.191147859922</c:v>
                </c:pt>
                <c:pt idx="91">
                  <c:v>1.1435250116869999</c:v>
                </c:pt>
                <c:pt idx="92">
                  <c:v>1.1502452073110001</c:v>
                </c:pt>
                <c:pt idx="93">
                  <c:v>1.2720323740999999</c:v>
                </c:pt>
                <c:pt idx="94">
                  <c:v>1.3653679653669999</c:v>
                </c:pt>
                <c:pt idx="95">
                  <c:v>1.415271539403</c:v>
                </c:pt>
                <c:pt idx="96">
                  <c:v>1.4922322158620001</c:v>
                </c:pt>
                <c:pt idx="97">
                  <c:v>1.4670542635649999</c:v>
                </c:pt>
                <c:pt idx="98">
                  <c:v>1.4457405443610001</c:v>
                </c:pt>
                <c:pt idx="99">
                  <c:v>1.506975269499</c:v>
                </c:pt>
                <c:pt idx="100">
                  <c:v>1.519330640507</c:v>
                </c:pt>
                <c:pt idx="101">
                  <c:v>1.636712328767</c:v>
                </c:pt>
                <c:pt idx="102">
                  <c:v>1.748745046235</c:v>
                </c:pt>
                <c:pt idx="103">
                  <c:v>1.8709046454760001</c:v>
                </c:pt>
                <c:pt idx="104">
                  <c:v>1.690090469177</c:v>
                </c:pt>
                <c:pt idx="105">
                  <c:v>1.6141283706789999</c:v>
                </c:pt>
                <c:pt idx="106">
                  <c:v>1.5090391697350001</c:v>
                </c:pt>
                <c:pt idx="107">
                  <c:v>1.5092914337509999</c:v>
                </c:pt>
                <c:pt idx="108">
                  <c:v>1.533193936225</c:v>
                </c:pt>
                <c:pt idx="109">
                  <c:v>1.543383542885</c:v>
                </c:pt>
                <c:pt idx="110">
                  <c:v>1.5183529411759999</c:v>
                </c:pt>
                <c:pt idx="111">
                  <c:v>1.4530227398769999</c:v>
                </c:pt>
                <c:pt idx="112">
                  <c:v>1.356156156156</c:v>
                </c:pt>
                <c:pt idx="113">
                  <c:v>1.2153937947489999</c:v>
                </c:pt>
                <c:pt idx="114">
                  <c:v>1.1639780609770001</c:v>
                </c:pt>
                <c:pt idx="115">
                  <c:v>1.101193243452</c:v>
                </c:pt>
                <c:pt idx="116">
                  <c:v>1.1488663256730001</c:v>
                </c:pt>
                <c:pt idx="117">
                  <c:v>1.106067316209</c:v>
                </c:pt>
                <c:pt idx="118">
                  <c:v>1.0734273090669999</c:v>
                </c:pt>
                <c:pt idx="119">
                  <c:v>1.047259372184</c:v>
                </c:pt>
                <c:pt idx="120">
                  <c:v>1.0334928229660001</c:v>
                </c:pt>
                <c:pt idx="121">
                  <c:v>1.0172104458760001</c:v>
                </c:pt>
                <c:pt idx="122">
                  <c:v>1.0613947280610001</c:v>
                </c:pt>
                <c:pt idx="123">
                  <c:v>1.09466875735</c:v>
                </c:pt>
                <c:pt idx="124">
                  <c:v>1.1465625620319999</c:v>
                </c:pt>
                <c:pt idx="125">
                  <c:v>1.2162309368190001</c:v>
                </c:pt>
                <c:pt idx="126">
                  <c:v>1.286778155211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\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0.78325942350300004</c:v>
                </c:pt>
                <c:pt idx="1">
                  <c:v>0.77905604719699995</c:v>
                </c:pt>
                <c:pt idx="2">
                  <c:v>0.78174603174599999</c:v>
                </c:pt>
                <c:pt idx="3">
                  <c:v>0.76089000313300004</c:v>
                </c:pt>
                <c:pt idx="4">
                  <c:v>0.78424202127599996</c:v>
                </c:pt>
                <c:pt idx="5">
                  <c:v>0.82979476291499998</c:v>
                </c:pt>
                <c:pt idx="6">
                  <c:v>0.80537675122999997</c:v>
                </c:pt>
                <c:pt idx="7">
                  <c:v>0.79344006247499999</c:v>
                </c:pt>
                <c:pt idx="8">
                  <c:v>0.79448105436500005</c:v>
                </c:pt>
                <c:pt idx="9">
                  <c:v>0.71725307333599997</c:v>
                </c:pt>
                <c:pt idx="10">
                  <c:v>0.66140724946600005</c:v>
                </c:pt>
                <c:pt idx="11">
                  <c:v>0.69158439116100001</c:v>
                </c:pt>
                <c:pt idx="12">
                  <c:v>0.69586614173200001</c:v>
                </c:pt>
                <c:pt idx="13">
                  <c:v>0.67029548989099996</c:v>
                </c:pt>
                <c:pt idx="14">
                  <c:v>0.66016548463299995</c:v>
                </c:pt>
                <c:pt idx="15">
                  <c:v>0.64216634429399999</c:v>
                </c:pt>
                <c:pt idx="16">
                  <c:v>0.65465669612499999</c:v>
                </c:pt>
                <c:pt idx="17">
                  <c:v>0.65558698726999998</c:v>
                </c:pt>
                <c:pt idx="18">
                  <c:v>0.70920340293799999</c:v>
                </c:pt>
                <c:pt idx="19">
                  <c:v>0.83527305281999997</c:v>
                </c:pt>
                <c:pt idx="20">
                  <c:v>0.88052208835300005</c:v>
                </c:pt>
                <c:pt idx="21">
                  <c:v>0.81100726895099995</c:v>
                </c:pt>
                <c:pt idx="22">
                  <c:v>0.81661272923399997</c:v>
                </c:pt>
                <c:pt idx="23">
                  <c:v>0.75899672846199995</c:v>
                </c:pt>
                <c:pt idx="24">
                  <c:v>0.73311897106099999</c:v>
                </c:pt>
                <c:pt idx="25">
                  <c:v>0.78563283922399996</c:v>
                </c:pt>
                <c:pt idx="26">
                  <c:v>0.88348271446799997</c:v>
                </c:pt>
                <c:pt idx="27">
                  <c:v>0.95376486129399995</c:v>
                </c:pt>
                <c:pt idx="28">
                  <c:v>1.1005747126430001</c:v>
                </c:pt>
                <c:pt idx="29">
                  <c:v>1.165204678362</c:v>
                </c:pt>
                <c:pt idx="30">
                  <c:v>1.258345428156</c:v>
                </c:pt>
                <c:pt idx="31">
                  <c:v>1.3028985507240001</c:v>
                </c:pt>
                <c:pt idx="32">
                  <c:v>1.3240997229910001</c:v>
                </c:pt>
                <c:pt idx="33">
                  <c:v>1.3133159268920001</c:v>
                </c:pt>
                <c:pt idx="34">
                  <c:v>1.2358845671259999</c:v>
                </c:pt>
                <c:pt idx="35">
                  <c:v>1.0818915801610001</c:v>
                </c:pt>
                <c:pt idx="36">
                  <c:v>1.202447163515</c:v>
                </c:pt>
                <c:pt idx="37">
                  <c:v>1.2175732217569999</c:v>
                </c:pt>
                <c:pt idx="38">
                  <c:v>1.277335984095</c:v>
                </c:pt>
                <c:pt idx="39">
                  <c:v>1.3370558375629999</c:v>
                </c:pt>
                <c:pt idx="40">
                  <c:v>1.4456289978670001</c:v>
                </c:pt>
                <c:pt idx="41">
                  <c:v>1.3598519888989999</c:v>
                </c:pt>
                <c:pt idx="42">
                  <c:v>1.44501718213</c:v>
                </c:pt>
                <c:pt idx="43">
                  <c:v>1.2949416342410001</c:v>
                </c:pt>
                <c:pt idx="44">
                  <c:v>1.2444950645399999</c:v>
                </c:pt>
                <c:pt idx="45">
                  <c:v>1.1755162241879999</c:v>
                </c:pt>
                <c:pt idx="46">
                  <c:v>1.11156462585</c:v>
                </c:pt>
                <c:pt idx="47">
                  <c:v>0.95303210463700005</c:v>
                </c:pt>
                <c:pt idx="48">
                  <c:v>0.94831730769199996</c:v>
                </c:pt>
                <c:pt idx="49">
                  <c:v>0.94996949359299998</c:v>
                </c:pt>
                <c:pt idx="50">
                  <c:v>0.95796737766600004</c:v>
                </c:pt>
                <c:pt idx="51">
                  <c:v>0.91615667074600005</c:v>
                </c:pt>
                <c:pt idx="52">
                  <c:v>0.90205864004900005</c:v>
                </c:pt>
                <c:pt idx="53">
                  <c:v>0.87072243346</c:v>
                </c:pt>
                <c:pt idx="54">
                  <c:v>0.85934489402600001</c:v>
                </c:pt>
                <c:pt idx="55">
                  <c:v>0.86247544204299997</c:v>
                </c:pt>
                <c:pt idx="56">
                  <c:v>0.84769539078099998</c:v>
                </c:pt>
                <c:pt idx="57">
                  <c:v>0.85062240663900002</c:v>
                </c:pt>
                <c:pt idx="58">
                  <c:v>0.90247452692800001</c:v>
                </c:pt>
                <c:pt idx="59">
                  <c:v>0.88863976083700003</c:v>
                </c:pt>
                <c:pt idx="60">
                  <c:v>0.89521640091099997</c:v>
                </c:pt>
                <c:pt idx="61">
                  <c:v>0.92671394798999995</c:v>
                </c:pt>
                <c:pt idx="62">
                  <c:v>0.91869918699099995</c:v>
                </c:pt>
                <c:pt idx="63">
                  <c:v>0.89919354838700005</c:v>
                </c:pt>
                <c:pt idx="64">
                  <c:v>0.95121951219500001</c:v>
                </c:pt>
                <c:pt idx="65">
                  <c:v>0.925360474978</c:v>
                </c:pt>
                <c:pt idx="66">
                  <c:v>0.95748299319700003</c:v>
                </c:pt>
                <c:pt idx="67">
                  <c:v>1.0309734513269999</c:v>
                </c:pt>
                <c:pt idx="68">
                  <c:v>1.070852017937</c:v>
                </c:pt>
                <c:pt idx="69">
                  <c:v>1.069849690539</c:v>
                </c:pt>
                <c:pt idx="70">
                  <c:v>1.130155820348</c:v>
                </c:pt>
                <c:pt idx="71">
                  <c:v>1.1039076376550001</c:v>
                </c:pt>
                <c:pt idx="72">
                  <c:v>1.089270386266</c:v>
                </c:pt>
                <c:pt idx="73">
                  <c:v>1.098827470686</c:v>
                </c:pt>
                <c:pt idx="74">
                  <c:v>1.0743801652889999</c:v>
                </c:pt>
                <c:pt idx="75">
                  <c:v>1.030819140308</c:v>
                </c:pt>
                <c:pt idx="76">
                  <c:v>1.0603378921960001</c:v>
                </c:pt>
                <c:pt idx="77">
                  <c:v>1.07013396375</c:v>
                </c:pt>
                <c:pt idx="78">
                  <c:v>1.02743902439</c:v>
                </c:pt>
                <c:pt idx="79">
                  <c:v>1.0176923076919999</c:v>
                </c:pt>
                <c:pt idx="80">
                  <c:v>1.0047206923680001</c:v>
                </c:pt>
                <c:pt idx="81">
                  <c:v>0.96206373292799996</c:v>
                </c:pt>
                <c:pt idx="82">
                  <c:v>0.95581737849699999</c:v>
                </c:pt>
                <c:pt idx="83">
                  <c:v>0.95919881305599997</c:v>
                </c:pt>
                <c:pt idx="84">
                  <c:v>0.93726379440600005</c:v>
                </c:pt>
                <c:pt idx="85">
                  <c:v>1</c:v>
                </c:pt>
                <c:pt idx="86">
                  <c:v>1.043375394321</c:v>
                </c:pt>
                <c:pt idx="87">
                  <c:v>1.028505392912</c:v>
                </c:pt>
                <c:pt idx="88">
                  <c:v>1.0324825986070001</c:v>
                </c:pt>
                <c:pt idx="89">
                  <c:v>1.05564516129</c:v>
                </c:pt>
                <c:pt idx="90">
                  <c:v>1.0493343774470001</c:v>
                </c:pt>
                <c:pt idx="91">
                  <c:v>1.0430839002259999</c:v>
                </c:pt>
                <c:pt idx="92">
                  <c:v>1.046441947565</c:v>
                </c:pt>
                <c:pt idx="93">
                  <c:v>1.1168539325839999</c:v>
                </c:pt>
                <c:pt idx="94">
                  <c:v>1.2345301757060001</c:v>
                </c:pt>
                <c:pt idx="95">
                  <c:v>1.2604477611939999</c:v>
                </c:pt>
                <c:pt idx="96">
                  <c:v>1.266666666666</c:v>
                </c:pt>
                <c:pt idx="97">
                  <c:v>1.358625626342</c:v>
                </c:pt>
                <c:pt idx="98">
                  <c:v>1.4714956405090001</c:v>
                </c:pt>
                <c:pt idx="99">
                  <c:v>1.4294554455440001</c:v>
                </c:pt>
                <c:pt idx="100">
                  <c:v>1.4351687388979999</c:v>
                </c:pt>
                <c:pt idx="101">
                  <c:v>1.465675057208</c:v>
                </c:pt>
                <c:pt idx="102">
                  <c:v>1.373024236037</c:v>
                </c:pt>
                <c:pt idx="103">
                  <c:v>1.1859617137639999</c:v>
                </c:pt>
                <c:pt idx="104">
                  <c:v>1.169264069264</c:v>
                </c:pt>
                <c:pt idx="105">
                  <c:v>1.102310231023</c:v>
                </c:pt>
                <c:pt idx="106">
                  <c:v>1.098360655737</c:v>
                </c:pt>
                <c:pt idx="107">
                  <c:v>1.130084420567</c:v>
                </c:pt>
                <c:pt idx="108">
                  <c:v>1.1291314373550001</c:v>
                </c:pt>
                <c:pt idx="109">
                  <c:v>1.1066271751200001</c:v>
                </c:pt>
                <c:pt idx="110">
                  <c:v>1.1366017964070001</c:v>
                </c:pt>
                <c:pt idx="111">
                  <c:v>1.0753375977249999</c:v>
                </c:pt>
                <c:pt idx="112">
                  <c:v>1.0414261460100001</c:v>
                </c:pt>
                <c:pt idx="113">
                  <c:v>1.04424778761</c:v>
                </c:pt>
                <c:pt idx="114">
                  <c:v>1.0043492806950001</c:v>
                </c:pt>
                <c:pt idx="115">
                  <c:v>1.0079025353960001</c:v>
                </c:pt>
                <c:pt idx="116">
                  <c:v>1.048909451421</c:v>
                </c:pt>
                <c:pt idx="117">
                  <c:v>1.0560808607759999</c:v>
                </c:pt>
                <c:pt idx="118">
                  <c:v>1.117992177314</c:v>
                </c:pt>
                <c:pt idx="119">
                  <c:v>1.1019320453029999</c:v>
                </c:pt>
                <c:pt idx="120">
                  <c:v>1.1496243057819999</c:v>
                </c:pt>
                <c:pt idx="121">
                  <c:v>1.244801512287</c:v>
                </c:pt>
                <c:pt idx="122">
                  <c:v>1.3210867551709999</c:v>
                </c:pt>
                <c:pt idx="123">
                  <c:v>1.287463556851</c:v>
                </c:pt>
                <c:pt idx="124">
                  <c:v>1.3545949214020001</c:v>
                </c:pt>
                <c:pt idx="125">
                  <c:v>1.310883773799</c:v>
                </c:pt>
                <c:pt idx="126">
                  <c:v>1.328271323714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3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0.5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6166960064971887"/>
          <c:y val="0.27545860500728103"/>
          <c:w val="0.138330399350281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4</c:v>
                </c:pt>
                <c:pt idx="1">
                  <c:v>5</c:v>
                </c:pt>
                <c:pt idx="2">
                  <c:v>0</c:v>
                </c:pt>
                <c:pt idx="3">
                  <c:v>4</c:v>
                </c:pt>
                <c:pt idx="4">
                  <c:v>9</c:v>
                </c:pt>
                <c:pt idx="5">
                  <c:v>4</c:v>
                </c:pt>
                <c:pt idx="6">
                  <c:v>4</c:v>
                </c:pt>
                <c:pt idx="7">
                  <c:v>1</c:v>
                </c:pt>
                <c:pt idx="8">
                  <c:v>4</c:v>
                </c:pt>
                <c:pt idx="9">
                  <c:v>6</c:v>
                </c:pt>
                <c:pt idx="10">
                  <c:v>4</c:v>
                </c:pt>
                <c:pt idx="11">
                  <c:v>6</c:v>
                </c:pt>
                <c:pt idx="12">
                  <c:v>4</c:v>
                </c:pt>
                <c:pt idx="13">
                  <c:v>5</c:v>
                </c:pt>
                <c:pt idx="14">
                  <c:v>11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6</c:v>
                </c:pt>
                <c:pt idx="20">
                  <c:v>2</c:v>
                </c:pt>
                <c:pt idx="21">
                  <c:v>3</c:v>
                </c:pt>
                <c:pt idx="22">
                  <c:v>6</c:v>
                </c:pt>
                <c:pt idx="23">
                  <c:v>7</c:v>
                </c:pt>
                <c:pt idx="24">
                  <c:v>1</c:v>
                </c:pt>
                <c:pt idx="25">
                  <c:v>5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4</c:v>
                </c:pt>
                <c:pt idx="30">
                  <c:v>10</c:v>
                </c:pt>
                <c:pt idx="31">
                  <c:v>4</c:v>
                </c:pt>
                <c:pt idx="32">
                  <c:v>7</c:v>
                </c:pt>
                <c:pt idx="33">
                  <c:v>3</c:v>
                </c:pt>
                <c:pt idx="34">
                  <c:v>9</c:v>
                </c:pt>
                <c:pt idx="35">
                  <c:v>2</c:v>
                </c:pt>
                <c:pt idx="36">
                  <c:v>10</c:v>
                </c:pt>
                <c:pt idx="37">
                  <c:v>10</c:v>
                </c:pt>
                <c:pt idx="38">
                  <c:v>5</c:v>
                </c:pt>
                <c:pt idx="39">
                  <c:v>5</c:v>
                </c:pt>
                <c:pt idx="40">
                  <c:v>3</c:v>
                </c:pt>
                <c:pt idx="41">
                  <c:v>3</c:v>
                </c:pt>
                <c:pt idx="42">
                  <c:v>8</c:v>
                </c:pt>
                <c:pt idx="43">
                  <c:v>2</c:v>
                </c:pt>
                <c:pt idx="44">
                  <c:v>13</c:v>
                </c:pt>
                <c:pt idx="45">
                  <c:v>5</c:v>
                </c:pt>
                <c:pt idx="46">
                  <c:v>6</c:v>
                </c:pt>
                <c:pt idx="47">
                  <c:v>8</c:v>
                </c:pt>
                <c:pt idx="48">
                  <c:v>4</c:v>
                </c:pt>
                <c:pt idx="49">
                  <c:v>3</c:v>
                </c:pt>
                <c:pt idx="50">
                  <c:v>10</c:v>
                </c:pt>
                <c:pt idx="51">
                  <c:v>17</c:v>
                </c:pt>
                <c:pt idx="52">
                  <c:v>10</c:v>
                </c:pt>
                <c:pt idx="53">
                  <c:v>9</c:v>
                </c:pt>
                <c:pt idx="54">
                  <c:v>9</c:v>
                </c:pt>
                <c:pt idx="55">
                  <c:v>5</c:v>
                </c:pt>
                <c:pt idx="56">
                  <c:v>22</c:v>
                </c:pt>
                <c:pt idx="57">
                  <c:v>11</c:v>
                </c:pt>
                <c:pt idx="58">
                  <c:v>15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3</c:v>
                </c:pt>
                <c:pt idx="63">
                  <c:v>10</c:v>
                </c:pt>
                <c:pt idx="64">
                  <c:v>14</c:v>
                </c:pt>
                <c:pt idx="65">
                  <c:v>9</c:v>
                </c:pt>
                <c:pt idx="66">
                  <c:v>4</c:v>
                </c:pt>
                <c:pt idx="67">
                  <c:v>14</c:v>
                </c:pt>
                <c:pt idx="68">
                  <c:v>9</c:v>
                </c:pt>
                <c:pt idx="69">
                  <c:v>13</c:v>
                </c:pt>
                <c:pt idx="70">
                  <c:v>12</c:v>
                </c:pt>
                <c:pt idx="71">
                  <c:v>8</c:v>
                </c:pt>
                <c:pt idx="72">
                  <c:v>13</c:v>
                </c:pt>
                <c:pt idx="73">
                  <c:v>13</c:v>
                </c:pt>
                <c:pt idx="74">
                  <c:v>19</c:v>
                </c:pt>
                <c:pt idx="75">
                  <c:v>12</c:v>
                </c:pt>
                <c:pt idx="76">
                  <c:v>11</c:v>
                </c:pt>
                <c:pt idx="77">
                  <c:v>16</c:v>
                </c:pt>
                <c:pt idx="78">
                  <c:v>6</c:v>
                </c:pt>
                <c:pt idx="79">
                  <c:v>14</c:v>
                </c:pt>
                <c:pt idx="80">
                  <c:v>22</c:v>
                </c:pt>
                <c:pt idx="81">
                  <c:v>22</c:v>
                </c:pt>
                <c:pt idx="82">
                  <c:v>14</c:v>
                </c:pt>
                <c:pt idx="83">
                  <c:v>10</c:v>
                </c:pt>
                <c:pt idx="84">
                  <c:v>9</c:v>
                </c:pt>
                <c:pt idx="85">
                  <c:v>16</c:v>
                </c:pt>
                <c:pt idx="86">
                  <c:v>15</c:v>
                </c:pt>
                <c:pt idx="87">
                  <c:v>21</c:v>
                </c:pt>
                <c:pt idx="88">
                  <c:v>23</c:v>
                </c:pt>
                <c:pt idx="89">
                  <c:v>15</c:v>
                </c:pt>
                <c:pt idx="90">
                  <c:v>15</c:v>
                </c:pt>
                <c:pt idx="91">
                  <c:v>22</c:v>
                </c:pt>
                <c:pt idx="92">
                  <c:v>20</c:v>
                </c:pt>
                <c:pt idx="93">
                  <c:v>19</c:v>
                </c:pt>
                <c:pt idx="94">
                  <c:v>36</c:v>
                </c:pt>
                <c:pt idx="95">
                  <c:v>34</c:v>
                </c:pt>
                <c:pt idx="96">
                  <c:v>33</c:v>
                </c:pt>
                <c:pt idx="97">
                  <c:v>20</c:v>
                </c:pt>
                <c:pt idx="98">
                  <c:v>45</c:v>
                </c:pt>
                <c:pt idx="99">
                  <c:v>27</c:v>
                </c:pt>
                <c:pt idx="100">
                  <c:v>47</c:v>
                </c:pt>
                <c:pt idx="101">
                  <c:v>35</c:v>
                </c:pt>
                <c:pt idx="102">
                  <c:v>57</c:v>
                </c:pt>
                <c:pt idx="103">
                  <c:v>31</c:v>
                </c:pt>
                <c:pt idx="104">
                  <c:v>46</c:v>
                </c:pt>
                <c:pt idx="105">
                  <c:v>52</c:v>
                </c:pt>
                <c:pt idx="106">
                  <c:v>78</c:v>
                </c:pt>
                <c:pt idx="107">
                  <c:v>73</c:v>
                </c:pt>
                <c:pt idx="108">
                  <c:v>135</c:v>
                </c:pt>
                <c:pt idx="109">
                  <c:v>86</c:v>
                </c:pt>
                <c:pt idx="110">
                  <c:v>74</c:v>
                </c:pt>
                <c:pt idx="111">
                  <c:v>59</c:v>
                </c:pt>
                <c:pt idx="112">
                  <c:v>105</c:v>
                </c:pt>
                <c:pt idx="113">
                  <c:v>105</c:v>
                </c:pt>
                <c:pt idx="114">
                  <c:v>138</c:v>
                </c:pt>
                <c:pt idx="115">
                  <c:v>143</c:v>
                </c:pt>
                <c:pt idx="116">
                  <c:v>135</c:v>
                </c:pt>
                <c:pt idx="117">
                  <c:v>106</c:v>
                </c:pt>
                <c:pt idx="118">
                  <c:v>117</c:v>
                </c:pt>
                <c:pt idx="119">
                  <c:v>100</c:v>
                </c:pt>
                <c:pt idx="120">
                  <c:v>188</c:v>
                </c:pt>
                <c:pt idx="121">
                  <c:v>193</c:v>
                </c:pt>
                <c:pt idx="122">
                  <c:v>200</c:v>
                </c:pt>
                <c:pt idx="123">
                  <c:v>211</c:v>
                </c:pt>
                <c:pt idx="124">
                  <c:v>148</c:v>
                </c:pt>
                <c:pt idx="125">
                  <c:v>165</c:v>
                </c:pt>
                <c:pt idx="126">
                  <c:v>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28</c:v>
                </c:pt>
                <c:pt idx="1">
                  <c:v>38</c:v>
                </c:pt>
                <c:pt idx="2">
                  <c:v>20</c:v>
                </c:pt>
                <c:pt idx="3">
                  <c:v>28</c:v>
                </c:pt>
                <c:pt idx="4">
                  <c:v>15</c:v>
                </c:pt>
                <c:pt idx="5">
                  <c:v>12</c:v>
                </c:pt>
                <c:pt idx="6">
                  <c:v>14</c:v>
                </c:pt>
                <c:pt idx="7">
                  <c:v>23</c:v>
                </c:pt>
                <c:pt idx="8">
                  <c:v>15</c:v>
                </c:pt>
                <c:pt idx="9">
                  <c:v>18</c:v>
                </c:pt>
                <c:pt idx="10">
                  <c:v>10</c:v>
                </c:pt>
                <c:pt idx="11">
                  <c:v>8</c:v>
                </c:pt>
                <c:pt idx="12">
                  <c:v>5</c:v>
                </c:pt>
                <c:pt idx="13">
                  <c:v>9</c:v>
                </c:pt>
                <c:pt idx="14">
                  <c:v>9</c:v>
                </c:pt>
                <c:pt idx="15">
                  <c:v>6</c:v>
                </c:pt>
                <c:pt idx="16">
                  <c:v>24</c:v>
                </c:pt>
                <c:pt idx="17">
                  <c:v>8</c:v>
                </c:pt>
                <c:pt idx="18">
                  <c:v>10</c:v>
                </c:pt>
                <c:pt idx="19">
                  <c:v>2</c:v>
                </c:pt>
                <c:pt idx="20">
                  <c:v>8</c:v>
                </c:pt>
                <c:pt idx="21">
                  <c:v>7</c:v>
                </c:pt>
                <c:pt idx="22">
                  <c:v>7</c:v>
                </c:pt>
                <c:pt idx="23">
                  <c:v>4</c:v>
                </c:pt>
                <c:pt idx="24">
                  <c:v>6</c:v>
                </c:pt>
                <c:pt idx="25">
                  <c:v>2</c:v>
                </c:pt>
                <c:pt idx="26">
                  <c:v>2</c:v>
                </c:pt>
                <c:pt idx="27">
                  <c:v>7</c:v>
                </c:pt>
                <c:pt idx="28">
                  <c:v>2</c:v>
                </c:pt>
                <c:pt idx="29">
                  <c:v>10</c:v>
                </c:pt>
                <c:pt idx="30">
                  <c:v>4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2</c:v>
                </c:pt>
                <c:pt idx="35">
                  <c:v>0</c:v>
                </c:pt>
                <c:pt idx="36">
                  <c:v>8</c:v>
                </c:pt>
                <c:pt idx="37">
                  <c:v>4</c:v>
                </c:pt>
                <c:pt idx="38">
                  <c:v>5</c:v>
                </c:pt>
                <c:pt idx="39">
                  <c:v>3</c:v>
                </c:pt>
                <c:pt idx="40">
                  <c:v>5</c:v>
                </c:pt>
                <c:pt idx="41">
                  <c:v>8</c:v>
                </c:pt>
                <c:pt idx="42">
                  <c:v>0</c:v>
                </c:pt>
                <c:pt idx="43">
                  <c:v>5</c:v>
                </c:pt>
                <c:pt idx="44">
                  <c:v>6</c:v>
                </c:pt>
                <c:pt idx="45">
                  <c:v>6</c:v>
                </c:pt>
                <c:pt idx="46">
                  <c:v>4</c:v>
                </c:pt>
                <c:pt idx="47">
                  <c:v>2</c:v>
                </c:pt>
                <c:pt idx="48">
                  <c:v>10</c:v>
                </c:pt>
                <c:pt idx="49">
                  <c:v>5</c:v>
                </c:pt>
                <c:pt idx="50">
                  <c:v>6</c:v>
                </c:pt>
                <c:pt idx="51">
                  <c:v>6</c:v>
                </c:pt>
                <c:pt idx="52">
                  <c:v>5</c:v>
                </c:pt>
                <c:pt idx="53">
                  <c:v>6</c:v>
                </c:pt>
                <c:pt idx="54">
                  <c:v>8</c:v>
                </c:pt>
                <c:pt idx="55">
                  <c:v>14</c:v>
                </c:pt>
                <c:pt idx="56">
                  <c:v>3</c:v>
                </c:pt>
                <c:pt idx="57">
                  <c:v>7</c:v>
                </c:pt>
                <c:pt idx="58">
                  <c:v>11</c:v>
                </c:pt>
                <c:pt idx="59">
                  <c:v>4</c:v>
                </c:pt>
                <c:pt idx="60">
                  <c:v>5</c:v>
                </c:pt>
                <c:pt idx="61">
                  <c:v>4</c:v>
                </c:pt>
                <c:pt idx="62">
                  <c:v>9</c:v>
                </c:pt>
                <c:pt idx="63">
                  <c:v>3</c:v>
                </c:pt>
                <c:pt idx="64">
                  <c:v>12</c:v>
                </c:pt>
                <c:pt idx="65">
                  <c:v>3</c:v>
                </c:pt>
                <c:pt idx="66">
                  <c:v>9</c:v>
                </c:pt>
                <c:pt idx="67">
                  <c:v>6</c:v>
                </c:pt>
                <c:pt idx="68">
                  <c:v>2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6</c:v>
                </c:pt>
                <c:pt idx="74">
                  <c:v>9</c:v>
                </c:pt>
                <c:pt idx="75">
                  <c:v>5</c:v>
                </c:pt>
                <c:pt idx="76">
                  <c:v>10</c:v>
                </c:pt>
                <c:pt idx="77">
                  <c:v>7</c:v>
                </c:pt>
                <c:pt idx="78">
                  <c:v>9</c:v>
                </c:pt>
                <c:pt idx="79">
                  <c:v>10</c:v>
                </c:pt>
                <c:pt idx="80">
                  <c:v>10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11</c:v>
                </c:pt>
                <c:pt idx="85">
                  <c:v>10</c:v>
                </c:pt>
                <c:pt idx="86">
                  <c:v>7</c:v>
                </c:pt>
                <c:pt idx="87">
                  <c:v>7</c:v>
                </c:pt>
                <c:pt idx="88">
                  <c:v>5</c:v>
                </c:pt>
                <c:pt idx="89">
                  <c:v>3</c:v>
                </c:pt>
                <c:pt idx="90">
                  <c:v>4</c:v>
                </c:pt>
                <c:pt idx="91">
                  <c:v>9</c:v>
                </c:pt>
                <c:pt idx="92">
                  <c:v>15</c:v>
                </c:pt>
                <c:pt idx="93">
                  <c:v>10</c:v>
                </c:pt>
                <c:pt idx="94">
                  <c:v>14</c:v>
                </c:pt>
                <c:pt idx="95">
                  <c:v>7</c:v>
                </c:pt>
                <c:pt idx="96">
                  <c:v>10</c:v>
                </c:pt>
                <c:pt idx="97">
                  <c:v>17</c:v>
                </c:pt>
                <c:pt idx="98">
                  <c:v>13</c:v>
                </c:pt>
                <c:pt idx="99">
                  <c:v>15</c:v>
                </c:pt>
                <c:pt idx="100">
                  <c:v>16</c:v>
                </c:pt>
                <c:pt idx="101">
                  <c:v>13</c:v>
                </c:pt>
                <c:pt idx="102">
                  <c:v>12</c:v>
                </c:pt>
                <c:pt idx="103">
                  <c:v>17</c:v>
                </c:pt>
                <c:pt idx="104">
                  <c:v>29</c:v>
                </c:pt>
                <c:pt idx="105">
                  <c:v>25</c:v>
                </c:pt>
                <c:pt idx="106">
                  <c:v>17</c:v>
                </c:pt>
                <c:pt idx="107">
                  <c:v>19</c:v>
                </c:pt>
                <c:pt idx="108">
                  <c:v>31</c:v>
                </c:pt>
                <c:pt idx="109">
                  <c:v>9</c:v>
                </c:pt>
                <c:pt idx="110">
                  <c:v>14</c:v>
                </c:pt>
                <c:pt idx="111">
                  <c:v>23</c:v>
                </c:pt>
                <c:pt idx="112">
                  <c:v>19</c:v>
                </c:pt>
                <c:pt idx="113">
                  <c:v>16</c:v>
                </c:pt>
                <c:pt idx="114">
                  <c:v>20</c:v>
                </c:pt>
                <c:pt idx="115">
                  <c:v>26</c:v>
                </c:pt>
                <c:pt idx="116">
                  <c:v>20</c:v>
                </c:pt>
                <c:pt idx="117">
                  <c:v>16</c:v>
                </c:pt>
                <c:pt idx="118">
                  <c:v>34</c:v>
                </c:pt>
                <c:pt idx="119">
                  <c:v>16</c:v>
                </c:pt>
                <c:pt idx="120">
                  <c:v>36</c:v>
                </c:pt>
                <c:pt idx="121">
                  <c:v>30</c:v>
                </c:pt>
                <c:pt idx="122">
                  <c:v>28</c:v>
                </c:pt>
                <c:pt idx="123">
                  <c:v>28</c:v>
                </c:pt>
                <c:pt idx="124">
                  <c:v>25</c:v>
                </c:pt>
                <c:pt idx="125">
                  <c:v>42</c:v>
                </c:pt>
                <c:pt idx="126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2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1</c:v>
                </c:pt>
                <c:pt idx="35">
                  <c:v>0</c:v>
                </c:pt>
                <c:pt idx="36">
                  <c:v>2</c:v>
                </c:pt>
                <c:pt idx="37">
                  <c:v>3</c:v>
                </c:pt>
                <c:pt idx="38">
                  <c:v>4</c:v>
                </c:pt>
                <c:pt idx="39">
                  <c:v>1</c:v>
                </c:pt>
                <c:pt idx="40">
                  <c:v>0</c:v>
                </c:pt>
                <c:pt idx="41">
                  <c:v>1</c:v>
                </c:pt>
                <c:pt idx="42">
                  <c:v>2</c:v>
                </c:pt>
                <c:pt idx="43">
                  <c:v>0</c:v>
                </c:pt>
                <c:pt idx="44">
                  <c:v>0</c:v>
                </c:pt>
                <c:pt idx="45">
                  <c:v>2</c:v>
                </c:pt>
                <c:pt idx="46">
                  <c:v>0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0</c:v>
                </c:pt>
                <c:pt idx="51">
                  <c:v>0</c:v>
                </c:pt>
                <c:pt idx="52">
                  <c:v>2</c:v>
                </c:pt>
                <c:pt idx="53">
                  <c:v>1</c:v>
                </c:pt>
                <c:pt idx="54">
                  <c:v>0</c:v>
                </c:pt>
                <c:pt idx="55">
                  <c:v>1</c:v>
                </c:pt>
                <c:pt idx="56">
                  <c:v>3</c:v>
                </c:pt>
                <c:pt idx="57">
                  <c:v>1</c:v>
                </c:pt>
                <c:pt idx="58">
                  <c:v>2</c:v>
                </c:pt>
                <c:pt idx="59">
                  <c:v>1</c:v>
                </c:pt>
                <c:pt idx="60">
                  <c:v>1</c:v>
                </c:pt>
                <c:pt idx="61">
                  <c:v>0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0</c:v>
                </c:pt>
                <c:pt idx="67">
                  <c:v>4</c:v>
                </c:pt>
                <c:pt idx="68">
                  <c:v>1</c:v>
                </c:pt>
                <c:pt idx="69">
                  <c:v>6</c:v>
                </c:pt>
                <c:pt idx="70">
                  <c:v>2</c:v>
                </c:pt>
                <c:pt idx="71">
                  <c:v>1</c:v>
                </c:pt>
                <c:pt idx="72">
                  <c:v>3</c:v>
                </c:pt>
                <c:pt idx="73">
                  <c:v>2</c:v>
                </c:pt>
                <c:pt idx="74">
                  <c:v>1</c:v>
                </c:pt>
                <c:pt idx="75">
                  <c:v>2</c:v>
                </c:pt>
                <c:pt idx="76">
                  <c:v>0</c:v>
                </c:pt>
                <c:pt idx="77">
                  <c:v>2</c:v>
                </c:pt>
                <c:pt idx="78">
                  <c:v>4</c:v>
                </c:pt>
                <c:pt idx="79">
                  <c:v>2</c:v>
                </c:pt>
                <c:pt idx="80">
                  <c:v>1</c:v>
                </c:pt>
                <c:pt idx="81">
                  <c:v>6</c:v>
                </c:pt>
                <c:pt idx="82">
                  <c:v>3</c:v>
                </c:pt>
                <c:pt idx="83">
                  <c:v>3</c:v>
                </c:pt>
                <c:pt idx="84">
                  <c:v>5</c:v>
                </c:pt>
                <c:pt idx="85">
                  <c:v>2</c:v>
                </c:pt>
                <c:pt idx="86">
                  <c:v>4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4</c:v>
                </c:pt>
                <c:pt idx="91">
                  <c:v>3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7</c:v>
                </c:pt>
                <c:pt idx="96">
                  <c:v>4</c:v>
                </c:pt>
                <c:pt idx="97">
                  <c:v>5</c:v>
                </c:pt>
                <c:pt idx="98">
                  <c:v>7</c:v>
                </c:pt>
                <c:pt idx="99">
                  <c:v>8</c:v>
                </c:pt>
                <c:pt idx="100">
                  <c:v>10</c:v>
                </c:pt>
                <c:pt idx="101">
                  <c:v>3</c:v>
                </c:pt>
                <c:pt idx="102">
                  <c:v>11</c:v>
                </c:pt>
                <c:pt idx="103">
                  <c:v>6</c:v>
                </c:pt>
                <c:pt idx="104">
                  <c:v>10</c:v>
                </c:pt>
                <c:pt idx="105">
                  <c:v>8</c:v>
                </c:pt>
                <c:pt idx="106">
                  <c:v>14</c:v>
                </c:pt>
                <c:pt idx="107">
                  <c:v>9</c:v>
                </c:pt>
                <c:pt idx="108">
                  <c:v>15</c:v>
                </c:pt>
                <c:pt idx="109">
                  <c:v>26</c:v>
                </c:pt>
                <c:pt idx="110">
                  <c:v>25</c:v>
                </c:pt>
                <c:pt idx="111">
                  <c:v>18</c:v>
                </c:pt>
                <c:pt idx="112">
                  <c:v>31</c:v>
                </c:pt>
                <c:pt idx="113">
                  <c:v>23</c:v>
                </c:pt>
                <c:pt idx="114">
                  <c:v>23</c:v>
                </c:pt>
                <c:pt idx="115">
                  <c:v>28</c:v>
                </c:pt>
                <c:pt idx="116">
                  <c:v>23</c:v>
                </c:pt>
                <c:pt idx="117">
                  <c:v>25</c:v>
                </c:pt>
                <c:pt idx="118">
                  <c:v>24</c:v>
                </c:pt>
                <c:pt idx="119">
                  <c:v>42</c:v>
                </c:pt>
                <c:pt idx="120">
                  <c:v>25</c:v>
                </c:pt>
                <c:pt idx="121">
                  <c:v>32</c:v>
                </c:pt>
                <c:pt idx="122">
                  <c:v>43</c:v>
                </c:pt>
                <c:pt idx="123">
                  <c:v>36</c:v>
                </c:pt>
                <c:pt idx="124">
                  <c:v>49</c:v>
                </c:pt>
                <c:pt idx="125">
                  <c:v>41</c:v>
                </c:pt>
                <c:pt idx="126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4</c:v>
                </c:pt>
                <c:pt idx="1">
                  <c:v>8</c:v>
                </c:pt>
                <c:pt idx="2">
                  <c:v>7</c:v>
                </c:pt>
                <c:pt idx="3">
                  <c:v>5</c:v>
                </c:pt>
                <c:pt idx="4">
                  <c:v>1</c:v>
                </c:pt>
                <c:pt idx="5">
                  <c:v>3</c:v>
                </c:pt>
                <c:pt idx="6">
                  <c:v>5</c:v>
                </c:pt>
                <c:pt idx="7">
                  <c:v>6</c:v>
                </c:pt>
                <c:pt idx="8">
                  <c:v>4</c:v>
                </c:pt>
                <c:pt idx="9">
                  <c:v>4</c:v>
                </c:pt>
                <c:pt idx="10">
                  <c:v>0</c:v>
                </c:pt>
                <c:pt idx="11">
                  <c:v>4</c:v>
                </c:pt>
                <c:pt idx="12">
                  <c:v>0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4</c:v>
                </c:pt>
                <c:pt idx="18">
                  <c:v>1</c:v>
                </c:pt>
                <c:pt idx="19">
                  <c:v>2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1</c:v>
                </c:pt>
                <c:pt idx="29">
                  <c:v>2</c:v>
                </c:pt>
                <c:pt idx="30">
                  <c:v>2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3</c:v>
                </c:pt>
                <c:pt idx="44">
                  <c:v>1</c:v>
                </c:pt>
                <c:pt idx="45">
                  <c:v>2</c:v>
                </c:pt>
                <c:pt idx="46">
                  <c:v>1</c:v>
                </c:pt>
                <c:pt idx="47">
                  <c:v>1</c:v>
                </c:pt>
                <c:pt idx="48">
                  <c:v>2</c:v>
                </c:pt>
                <c:pt idx="49">
                  <c:v>1</c:v>
                </c:pt>
                <c:pt idx="50">
                  <c:v>2</c:v>
                </c:pt>
                <c:pt idx="51">
                  <c:v>3</c:v>
                </c:pt>
                <c:pt idx="52">
                  <c:v>1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4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0</c:v>
                </c:pt>
                <c:pt idx="63">
                  <c:v>3</c:v>
                </c:pt>
                <c:pt idx="64">
                  <c:v>1</c:v>
                </c:pt>
                <c:pt idx="65">
                  <c:v>0</c:v>
                </c:pt>
                <c:pt idx="66">
                  <c:v>3</c:v>
                </c:pt>
                <c:pt idx="67">
                  <c:v>2</c:v>
                </c:pt>
                <c:pt idx="68">
                  <c:v>3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2</c:v>
                </c:pt>
                <c:pt idx="73">
                  <c:v>0</c:v>
                </c:pt>
                <c:pt idx="74">
                  <c:v>2</c:v>
                </c:pt>
                <c:pt idx="75">
                  <c:v>1</c:v>
                </c:pt>
                <c:pt idx="76">
                  <c:v>3</c:v>
                </c:pt>
                <c:pt idx="77">
                  <c:v>4</c:v>
                </c:pt>
                <c:pt idx="78">
                  <c:v>2</c:v>
                </c:pt>
                <c:pt idx="79">
                  <c:v>4</c:v>
                </c:pt>
                <c:pt idx="80">
                  <c:v>4</c:v>
                </c:pt>
                <c:pt idx="81">
                  <c:v>1</c:v>
                </c:pt>
                <c:pt idx="82">
                  <c:v>1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1</c:v>
                </c:pt>
                <c:pt idx="87">
                  <c:v>3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2</c:v>
                </c:pt>
                <c:pt idx="92">
                  <c:v>3</c:v>
                </c:pt>
                <c:pt idx="93">
                  <c:v>1</c:v>
                </c:pt>
                <c:pt idx="94">
                  <c:v>4</c:v>
                </c:pt>
                <c:pt idx="95">
                  <c:v>3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1</c:v>
                </c:pt>
                <c:pt idx="100">
                  <c:v>2</c:v>
                </c:pt>
                <c:pt idx="101">
                  <c:v>4</c:v>
                </c:pt>
                <c:pt idx="102">
                  <c:v>3</c:v>
                </c:pt>
                <c:pt idx="103">
                  <c:v>4</c:v>
                </c:pt>
                <c:pt idx="104">
                  <c:v>8</c:v>
                </c:pt>
                <c:pt idx="105">
                  <c:v>8</c:v>
                </c:pt>
                <c:pt idx="106">
                  <c:v>3</c:v>
                </c:pt>
                <c:pt idx="107">
                  <c:v>7</c:v>
                </c:pt>
                <c:pt idx="108">
                  <c:v>5</c:v>
                </c:pt>
                <c:pt idx="109">
                  <c:v>3</c:v>
                </c:pt>
                <c:pt idx="110">
                  <c:v>5</c:v>
                </c:pt>
                <c:pt idx="111">
                  <c:v>4</c:v>
                </c:pt>
                <c:pt idx="112">
                  <c:v>4</c:v>
                </c:pt>
                <c:pt idx="113">
                  <c:v>2</c:v>
                </c:pt>
                <c:pt idx="114">
                  <c:v>5</c:v>
                </c:pt>
                <c:pt idx="115">
                  <c:v>7</c:v>
                </c:pt>
                <c:pt idx="116">
                  <c:v>7</c:v>
                </c:pt>
                <c:pt idx="117">
                  <c:v>1</c:v>
                </c:pt>
                <c:pt idx="118">
                  <c:v>3</c:v>
                </c:pt>
                <c:pt idx="119">
                  <c:v>6</c:v>
                </c:pt>
                <c:pt idx="120">
                  <c:v>4</c:v>
                </c:pt>
                <c:pt idx="121">
                  <c:v>5</c:v>
                </c:pt>
                <c:pt idx="122">
                  <c:v>4</c:v>
                </c:pt>
                <c:pt idx="123">
                  <c:v>5</c:v>
                </c:pt>
                <c:pt idx="124">
                  <c:v>7</c:v>
                </c:pt>
                <c:pt idx="125">
                  <c:v>7</c:v>
                </c:pt>
                <c:pt idx="12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6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73</c:v>
                </c:pt>
                <c:pt idx="1">
                  <c:v>75</c:v>
                </c:pt>
                <c:pt idx="2">
                  <c:v>65</c:v>
                </c:pt>
                <c:pt idx="3">
                  <c:v>60</c:v>
                </c:pt>
                <c:pt idx="4">
                  <c:v>60</c:v>
                </c:pt>
                <c:pt idx="5">
                  <c:v>59</c:v>
                </c:pt>
                <c:pt idx="6">
                  <c:v>61</c:v>
                </c:pt>
                <c:pt idx="7">
                  <c:v>60</c:v>
                </c:pt>
                <c:pt idx="8">
                  <c:v>63</c:v>
                </c:pt>
                <c:pt idx="9">
                  <c:v>66</c:v>
                </c:pt>
                <c:pt idx="10">
                  <c:v>65</c:v>
                </c:pt>
                <c:pt idx="11">
                  <c:v>69</c:v>
                </c:pt>
                <c:pt idx="12">
                  <c:v>67</c:v>
                </c:pt>
                <c:pt idx="13">
                  <c:v>68</c:v>
                </c:pt>
                <c:pt idx="14">
                  <c:v>77</c:v>
                </c:pt>
                <c:pt idx="15">
                  <c:v>78</c:v>
                </c:pt>
                <c:pt idx="16">
                  <c:v>84</c:v>
                </c:pt>
                <c:pt idx="17">
                  <c:v>83</c:v>
                </c:pt>
                <c:pt idx="18">
                  <c:v>82</c:v>
                </c:pt>
                <c:pt idx="19">
                  <c:v>80</c:v>
                </c:pt>
                <c:pt idx="20">
                  <c:v>74</c:v>
                </c:pt>
                <c:pt idx="21">
                  <c:v>75</c:v>
                </c:pt>
                <c:pt idx="22">
                  <c:v>77</c:v>
                </c:pt>
                <c:pt idx="23">
                  <c:v>78</c:v>
                </c:pt>
                <c:pt idx="24">
                  <c:v>67</c:v>
                </c:pt>
                <c:pt idx="25">
                  <c:v>64</c:v>
                </c:pt>
                <c:pt idx="26">
                  <c:v>61</c:v>
                </c:pt>
                <c:pt idx="27">
                  <c:v>66</c:v>
                </c:pt>
                <c:pt idx="28">
                  <c:v>69</c:v>
                </c:pt>
                <c:pt idx="29">
                  <c:v>71</c:v>
                </c:pt>
                <c:pt idx="30">
                  <c:v>75</c:v>
                </c:pt>
                <c:pt idx="31">
                  <c:v>72</c:v>
                </c:pt>
                <c:pt idx="32">
                  <c:v>71</c:v>
                </c:pt>
                <c:pt idx="33">
                  <c:v>70</c:v>
                </c:pt>
                <c:pt idx="34">
                  <c:v>73</c:v>
                </c:pt>
                <c:pt idx="35">
                  <c:v>69</c:v>
                </c:pt>
                <c:pt idx="36">
                  <c:v>77</c:v>
                </c:pt>
                <c:pt idx="37">
                  <c:v>85</c:v>
                </c:pt>
                <c:pt idx="38">
                  <c:v>73</c:v>
                </c:pt>
                <c:pt idx="39">
                  <c:v>69</c:v>
                </c:pt>
                <c:pt idx="40">
                  <c:v>64</c:v>
                </c:pt>
                <c:pt idx="41">
                  <c:v>65</c:v>
                </c:pt>
                <c:pt idx="42">
                  <c:v>71</c:v>
                </c:pt>
                <c:pt idx="43">
                  <c:v>71</c:v>
                </c:pt>
                <c:pt idx="44">
                  <c:v>80</c:v>
                </c:pt>
                <c:pt idx="45">
                  <c:v>76</c:v>
                </c:pt>
                <c:pt idx="46">
                  <c:v>74</c:v>
                </c:pt>
                <c:pt idx="47">
                  <c:v>74</c:v>
                </c:pt>
                <c:pt idx="48">
                  <c:v>74</c:v>
                </c:pt>
                <c:pt idx="49">
                  <c:v>71</c:v>
                </c:pt>
                <c:pt idx="50">
                  <c:v>78</c:v>
                </c:pt>
                <c:pt idx="51">
                  <c:v>92</c:v>
                </c:pt>
                <c:pt idx="52">
                  <c:v>91</c:v>
                </c:pt>
                <c:pt idx="53">
                  <c:v>94</c:v>
                </c:pt>
                <c:pt idx="54">
                  <c:v>92</c:v>
                </c:pt>
                <c:pt idx="55">
                  <c:v>91</c:v>
                </c:pt>
                <c:pt idx="56">
                  <c:v>109</c:v>
                </c:pt>
                <c:pt idx="57">
                  <c:v>114</c:v>
                </c:pt>
                <c:pt idx="58">
                  <c:v>116</c:v>
                </c:pt>
                <c:pt idx="59">
                  <c:v>117</c:v>
                </c:pt>
                <c:pt idx="60">
                  <c:v>114</c:v>
                </c:pt>
                <c:pt idx="61">
                  <c:v>116</c:v>
                </c:pt>
                <c:pt idx="62">
                  <c:v>109</c:v>
                </c:pt>
                <c:pt idx="63">
                  <c:v>113</c:v>
                </c:pt>
                <c:pt idx="64">
                  <c:v>115</c:v>
                </c:pt>
                <c:pt idx="65">
                  <c:v>110</c:v>
                </c:pt>
                <c:pt idx="66">
                  <c:v>105</c:v>
                </c:pt>
                <c:pt idx="67">
                  <c:v>106</c:v>
                </c:pt>
                <c:pt idx="68">
                  <c:v>104</c:v>
                </c:pt>
                <c:pt idx="69">
                  <c:v>107</c:v>
                </c:pt>
                <c:pt idx="70">
                  <c:v>113</c:v>
                </c:pt>
                <c:pt idx="71">
                  <c:v>110</c:v>
                </c:pt>
                <c:pt idx="72">
                  <c:v>101</c:v>
                </c:pt>
                <c:pt idx="73">
                  <c:v>106</c:v>
                </c:pt>
                <c:pt idx="74">
                  <c:v>113</c:v>
                </c:pt>
                <c:pt idx="75">
                  <c:v>103</c:v>
                </c:pt>
                <c:pt idx="76">
                  <c:v>101</c:v>
                </c:pt>
                <c:pt idx="77">
                  <c:v>113</c:v>
                </c:pt>
                <c:pt idx="78">
                  <c:v>103</c:v>
                </c:pt>
                <c:pt idx="79">
                  <c:v>108</c:v>
                </c:pt>
                <c:pt idx="80">
                  <c:v>116</c:v>
                </c:pt>
                <c:pt idx="81">
                  <c:v>119</c:v>
                </c:pt>
                <c:pt idx="82">
                  <c:v>124</c:v>
                </c:pt>
                <c:pt idx="83">
                  <c:v>128</c:v>
                </c:pt>
                <c:pt idx="84">
                  <c:v>129</c:v>
                </c:pt>
                <c:pt idx="85">
                  <c:v>131</c:v>
                </c:pt>
                <c:pt idx="86">
                  <c:v>136</c:v>
                </c:pt>
                <c:pt idx="87">
                  <c:v>147</c:v>
                </c:pt>
                <c:pt idx="88">
                  <c:v>156</c:v>
                </c:pt>
                <c:pt idx="89">
                  <c:v>155</c:v>
                </c:pt>
                <c:pt idx="90">
                  <c:v>154</c:v>
                </c:pt>
                <c:pt idx="91">
                  <c:v>171</c:v>
                </c:pt>
                <c:pt idx="92">
                  <c:v>178</c:v>
                </c:pt>
                <c:pt idx="93">
                  <c:v>180</c:v>
                </c:pt>
                <c:pt idx="94">
                  <c:v>195</c:v>
                </c:pt>
                <c:pt idx="95">
                  <c:v>207</c:v>
                </c:pt>
                <c:pt idx="96">
                  <c:v>209</c:v>
                </c:pt>
                <c:pt idx="97">
                  <c:v>220</c:v>
                </c:pt>
                <c:pt idx="98">
                  <c:v>256</c:v>
                </c:pt>
                <c:pt idx="99">
                  <c:v>253</c:v>
                </c:pt>
                <c:pt idx="100">
                  <c:v>266</c:v>
                </c:pt>
                <c:pt idx="101">
                  <c:v>272</c:v>
                </c:pt>
                <c:pt idx="102">
                  <c:v>310</c:v>
                </c:pt>
                <c:pt idx="103">
                  <c:v>283</c:v>
                </c:pt>
                <c:pt idx="104">
                  <c:v>305</c:v>
                </c:pt>
                <c:pt idx="105">
                  <c:v>339</c:v>
                </c:pt>
                <c:pt idx="106">
                  <c:v>369</c:v>
                </c:pt>
                <c:pt idx="107">
                  <c:v>399</c:v>
                </c:pt>
                <c:pt idx="108">
                  <c:v>495</c:v>
                </c:pt>
                <c:pt idx="109">
                  <c:v>525</c:v>
                </c:pt>
                <c:pt idx="110">
                  <c:v>508</c:v>
                </c:pt>
                <c:pt idx="111">
                  <c:v>532</c:v>
                </c:pt>
                <c:pt idx="112">
                  <c:v>613</c:v>
                </c:pt>
                <c:pt idx="113">
                  <c:v>637</c:v>
                </c:pt>
                <c:pt idx="114">
                  <c:v>710</c:v>
                </c:pt>
                <c:pt idx="115">
                  <c:v>768</c:v>
                </c:pt>
                <c:pt idx="116">
                  <c:v>825</c:v>
                </c:pt>
                <c:pt idx="117">
                  <c:v>797</c:v>
                </c:pt>
                <c:pt idx="118">
                  <c:v>823</c:v>
                </c:pt>
                <c:pt idx="119">
                  <c:v>845</c:v>
                </c:pt>
                <c:pt idx="120">
                  <c:v>998</c:v>
                </c:pt>
                <c:pt idx="121">
                  <c:v>1062</c:v>
                </c:pt>
                <c:pt idx="122">
                  <c:v>1164</c:v>
                </c:pt>
                <c:pt idx="123">
                  <c:v>1239</c:v>
                </c:pt>
                <c:pt idx="124">
                  <c:v>1208</c:v>
                </c:pt>
                <c:pt idx="125">
                  <c:v>1280</c:v>
                </c:pt>
                <c:pt idx="126">
                  <c:v>1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7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1</c:v>
                </c:pt>
                <c:pt idx="86">
                  <c:v>69</c:v>
                </c:pt>
                <c:pt idx="87">
                  <c:v>62</c:v>
                </c:pt>
                <c:pt idx="88">
                  <c:v>56</c:v>
                </c:pt>
                <c:pt idx="89">
                  <c:v>54</c:v>
                </c:pt>
                <c:pt idx="90">
                  <c:v>60</c:v>
                </c:pt>
                <c:pt idx="91">
                  <c:v>55</c:v>
                </c:pt>
                <c:pt idx="92">
                  <c:v>62</c:v>
                </c:pt>
                <c:pt idx="93">
                  <c:v>64</c:v>
                </c:pt>
                <c:pt idx="94">
                  <c:v>63</c:v>
                </c:pt>
                <c:pt idx="95">
                  <c:v>60</c:v>
                </c:pt>
                <c:pt idx="96">
                  <c:v>67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4</c:v>
                </c:pt>
                <c:pt idx="103">
                  <c:v>126</c:v>
                </c:pt>
                <c:pt idx="104">
                  <c:v>156</c:v>
                </c:pt>
                <c:pt idx="105">
                  <c:v>162</c:v>
                </c:pt>
                <c:pt idx="106">
                  <c:v>167</c:v>
                </c:pt>
                <c:pt idx="107">
                  <c:v>165</c:v>
                </c:pt>
                <c:pt idx="108">
                  <c:v>180</c:v>
                </c:pt>
                <c:pt idx="109">
                  <c:v>158</c:v>
                </c:pt>
                <c:pt idx="110">
                  <c:v>161</c:v>
                </c:pt>
                <c:pt idx="111">
                  <c:v>180</c:v>
                </c:pt>
                <c:pt idx="112">
                  <c:v>176</c:v>
                </c:pt>
                <c:pt idx="113">
                  <c:v>177</c:v>
                </c:pt>
                <c:pt idx="114">
                  <c:v>179</c:v>
                </c:pt>
                <c:pt idx="115">
                  <c:v>184</c:v>
                </c:pt>
                <c:pt idx="116">
                  <c:v>185</c:v>
                </c:pt>
                <c:pt idx="117">
                  <c:v>195</c:v>
                </c:pt>
                <c:pt idx="118">
                  <c:v>227</c:v>
                </c:pt>
                <c:pt idx="119">
                  <c:v>224</c:v>
                </c:pt>
                <c:pt idx="120">
                  <c:v>251</c:v>
                </c:pt>
                <c:pt idx="121">
                  <c:v>248</c:v>
                </c:pt>
                <c:pt idx="122">
                  <c:v>238</c:v>
                </c:pt>
                <c:pt idx="123">
                  <c:v>226</c:v>
                </c:pt>
                <c:pt idx="124">
                  <c:v>237</c:v>
                </c:pt>
                <c:pt idx="125">
                  <c:v>278</c:v>
                </c:pt>
                <c:pt idx="126">
                  <c:v>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1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11</c:v>
                </c:pt>
                <c:pt idx="1">
                  <c:v>9</c:v>
                </c:pt>
                <c:pt idx="2">
                  <c:v>8</c:v>
                </c:pt>
                <c:pt idx="3">
                  <c:v>8</c:v>
                </c:pt>
                <c:pt idx="4">
                  <c:v>6</c:v>
                </c:pt>
                <c:pt idx="5">
                  <c:v>8</c:v>
                </c:pt>
                <c:pt idx="6">
                  <c:v>9</c:v>
                </c:pt>
                <c:pt idx="7">
                  <c:v>9</c:v>
                </c:pt>
                <c:pt idx="8">
                  <c:v>11</c:v>
                </c:pt>
                <c:pt idx="9">
                  <c:v>12</c:v>
                </c:pt>
                <c:pt idx="10">
                  <c:v>10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4">
                  <c:v>8</c:v>
                </c:pt>
                <c:pt idx="15">
                  <c:v>4</c:v>
                </c:pt>
                <c:pt idx="16">
                  <c:v>6</c:v>
                </c:pt>
                <c:pt idx="17">
                  <c:v>8</c:v>
                </c:pt>
                <c:pt idx="18">
                  <c:v>7</c:v>
                </c:pt>
                <c:pt idx="19">
                  <c:v>7</c:v>
                </c:pt>
                <c:pt idx="20">
                  <c:v>9</c:v>
                </c:pt>
                <c:pt idx="21">
                  <c:v>9</c:v>
                </c:pt>
                <c:pt idx="22">
                  <c:v>6</c:v>
                </c:pt>
                <c:pt idx="23">
                  <c:v>7</c:v>
                </c:pt>
                <c:pt idx="24">
                  <c:v>9</c:v>
                </c:pt>
                <c:pt idx="25">
                  <c:v>8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8</c:v>
                </c:pt>
                <c:pt idx="30">
                  <c:v>10</c:v>
                </c:pt>
                <c:pt idx="31">
                  <c:v>10</c:v>
                </c:pt>
                <c:pt idx="32">
                  <c:v>11</c:v>
                </c:pt>
                <c:pt idx="33">
                  <c:v>11</c:v>
                </c:pt>
                <c:pt idx="34">
                  <c:v>13</c:v>
                </c:pt>
                <c:pt idx="35">
                  <c:v>11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5</c:v>
                </c:pt>
                <c:pt idx="40">
                  <c:v>13</c:v>
                </c:pt>
                <c:pt idx="41">
                  <c:v>14</c:v>
                </c:pt>
                <c:pt idx="42">
                  <c:v>14</c:v>
                </c:pt>
                <c:pt idx="43">
                  <c:v>13</c:v>
                </c:pt>
                <c:pt idx="44">
                  <c:v>12</c:v>
                </c:pt>
                <c:pt idx="45">
                  <c:v>14</c:v>
                </c:pt>
                <c:pt idx="46">
                  <c:v>13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3</c:v>
                </c:pt>
                <c:pt idx="51">
                  <c:v>12</c:v>
                </c:pt>
                <c:pt idx="52">
                  <c:v>14</c:v>
                </c:pt>
                <c:pt idx="53">
                  <c:v>15</c:v>
                </c:pt>
                <c:pt idx="54">
                  <c:v>14</c:v>
                </c:pt>
                <c:pt idx="55">
                  <c:v>14</c:v>
                </c:pt>
                <c:pt idx="56">
                  <c:v>16</c:v>
                </c:pt>
                <c:pt idx="57">
                  <c:v>16</c:v>
                </c:pt>
                <c:pt idx="58">
                  <c:v>18</c:v>
                </c:pt>
                <c:pt idx="59">
                  <c:v>18</c:v>
                </c:pt>
                <c:pt idx="60">
                  <c:v>17</c:v>
                </c:pt>
                <c:pt idx="61">
                  <c:v>15</c:v>
                </c:pt>
                <c:pt idx="62">
                  <c:v>15</c:v>
                </c:pt>
                <c:pt idx="63">
                  <c:v>14</c:v>
                </c:pt>
                <c:pt idx="64">
                  <c:v>14</c:v>
                </c:pt>
                <c:pt idx="65">
                  <c:v>15</c:v>
                </c:pt>
                <c:pt idx="66">
                  <c:v>15</c:v>
                </c:pt>
                <c:pt idx="67">
                  <c:v>17</c:v>
                </c:pt>
                <c:pt idx="68">
                  <c:v>12</c:v>
                </c:pt>
                <c:pt idx="69">
                  <c:v>20</c:v>
                </c:pt>
                <c:pt idx="70">
                  <c:v>22</c:v>
                </c:pt>
                <c:pt idx="71">
                  <c:v>21</c:v>
                </c:pt>
                <c:pt idx="72">
                  <c:v>22</c:v>
                </c:pt>
                <c:pt idx="73">
                  <c:v>23</c:v>
                </c:pt>
                <c:pt idx="74">
                  <c:v>22</c:v>
                </c:pt>
                <c:pt idx="75">
                  <c:v>21</c:v>
                </c:pt>
                <c:pt idx="76">
                  <c:v>21</c:v>
                </c:pt>
                <c:pt idx="77">
                  <c:v>22</c:v>
                </c:pt>
                <c:pt idx="78">
                  <c:v>25</c:v>
                </c:pt>
                <c:pt idx="79">
                  <c:v>27</c:v>
                </c:pt>
                <c:pt idx="80">
                  <c:v>27</c:v>
                </c:pt>
                <c:pt idx="81">
                  <c:v>24</c:v>
                </c:pt>
                <c:pt idx="82">
                  <c:v>26</c:v>
                </c:pt>
                <c:pt idx="83">
                  <c:v>29</c:v>
                </c:pt>
                <c:pt idx="84">
                  <c:v>33</c:v>
                </c:pt>
                <c:pt idx="85">
                  <c:v>29</c:v>
                </c:pt>
                <c:pt idx="86">
                  <c:v>31</c:v>
                </c:pt>
                <c:pt idx="87">
                  <c:v>34</c:v>
                </c:pt>
                <c:pt idx="88">
                  <c:v>37</c:v>
                </c:pt>
                <c:pt idx="89">
                  <c:v>37</c:v>
                </c:pt>
                <c:pt idx="90">
                  <c:v>39</c:v>
                </c:pt>
                <c:pt idx="91">
                  <c:v>40</c:v>
                </c:pt>
                <c:pt idx="92">
                  <c:v>45</c:v>
                </c:pt>
                <c:pt idx="93">
                  <c:v>49</c:v>
                </c:pt>
                <c:pt idx="94">
                  <c:v>46</c:v>
                </c:pt>
                <c:pt idx="95">
                  <c:v>51</c:v>
                </c:pt>
                <c:pt idx="96">
                  <c:v>49</c:v>
                </c:pt>
                <c:pt idx="97">
                  <c:v>52</c:v>
                </c:pt>
                <c:pt idx="98">
                  <c:v>53</c:v>
                </c:pt>
                <c:pt idx="99">
                  <c:v>50</c:v>
                </c:pt>
                <c:pt idx="100">
                  <c:v>55</c:v>
                </c:pt>
                <c:pt idx="101">
                  <c:v>58</c:v>
                </c:pt>
                <c:pt idx="102">
                  <c:v>62</c:v>
                </c:pt>
                <c:pt idx="103">
                  <c:v>57</c:v>
                </c:pt>
                <c:pt idx="104">
                  <c:v>63</c:v>
                </c:pt>
                <c:pt idx="105">
                  <c:v>70</c:v>
                </c:pt>
                <c:pt idx="106">
                  <c:v>70</c:v>
                </c:pt>
                <c:pt idx="107">
                  <c:v>74</c:v>
                </c:pt>
                <c:pt idx="108">
                  <c:v>81</c:v>
                </c:pt>
                <c:pt idx="109">
                  <c:v>98</c:v>
                </c:pt>
                <c:pt idx="110">
                  <c:v>112</c:v>
                </c:pt>
                <c:pt idx="111">
                  <c:v>122</c:v>
                </c:pt>
                <c:pt idx="112">
                  <c:v>144</c:v>
                </c:pt>
                <c:pt idx="113">
                  <c:v>137</c:v>
                </c:pt>
                <c:pt idx="114">
                  <c:v>147</c:v>
                </c:pt>
                <c:pt idx="115">
                  <c:v>157</c:v>
                </c:pt>
                <c:pt idx="116">
                  <c:v>158</c:v>
                </c:pt>
                <c:pt idx="117">
                  <c:v>163</c:v>
                </c:pt>
                <c:pt idx="118">
                  <c:v>178</c:v>
                </c:pt>
                <c:pt idx="119">
                  <c:v>191</c:v>
                </c:pt>
                <c:pt idx="120">
                  <c:v>197</c:v>
                </c:pt>
                <c:pt idx="121">
                  <c:v>196</c:v>
                </c:pt>
                <c:pt idx="122">
                  <c:v>219</c:v>
                </c:pt>
                <c:pt idx="123">
                  <c:v>225</c:v>
                </c:pt>
                <c:pt idx="124">
                  <c:v>254</c:v>
                </c:pt>
                <c:pt idx="125">
                  <c:v>268</c:v>
                </c:pt>
                <c:pt idx="126">
                  <c:v>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X$1</c:f>
              <c:numCache>
                <c:formatCode>d/m;@</c:formatCode>
                <c:ptCount val="127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  <c:pt idx="123">
                  <c:v>44106</c:v>
                </c:pt>
                <c:pt idx="124">
                  <c:v>44107</c:v>
                </c:pt>
                <c:pt idx="125">
                  <c:v>44108</c:v>
                </c:pt>
                <c:pt idx="126">
                  <c:v>44109</c:v>
                </c:pt>
              </c:numCache>
            </c:num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8</c:v>
                </c:pt>
                <c:pt idx="86">
                  <c:v>16</c:v>
                </c:pt>
                <c:pt idx="87">
                  <c:v>14</c:v>
                </c:pt>
                <c:pt idx="88">
                  <c:v>13</c:v>
                </c:pt>
                <c:pt idx="89">
                  <c:v>9</c:v>
                </c:pt>
                <c:pt idx="90">
                  <c:v>10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4</c:v>
                </c:pt>
                <c:pt idx="102">
                  <c:v>27</c:v>
                </c:pt>
                <c:pt idx="103">
                  <c:v>31</c:v>
                </c:pt>
                <c:pt idx="104">
                  <c:v>35</c:v>
                </c:pt>
                <c:pt idx="105">
                  <c:v>41</c:v>
                </c:pt>
                <c:pt idx="106">
                  <c:v>38</c:v>
                </c:pt>
                <c:pt idx="107">
                  <c:v>43</c:v>
                </c:pt>
                <c:pt idx="108">
                  <c:v>45</c:v>
                </c:pt>
                <c:pt idx="109">
                  <c:v>42</c:v>
                </c:pt>
                <c:pt idx="110">
                  <c:v>39</c:v>
                </c:pt>
                <c:pt idx="111">
                  <c:v>41</c:v>
                </c:pt>
                <c:pt idx="112">
                  <c:v>39</c:v>
                </c:pt>
                <c:pt idx="113">
                  <c:v>37</c:v>
                </c:pt>
                <c:pt idx="114">
                  <c:v>38</c:v>
                </c:pt>
                <c:pt idx="115">
                  <c:v>42</c:v>
                </c:pt>
                <c:pt idx="116">
                  <c:v>46</c:v>
                </c:pt>
                <c:pt idx="117">
                  <c:v>45</c:v>
                </c:pt>
                <c:pt idx="118">
                  <c:v>49</c:v>
                </c:pt>
                <c:pt idx="119">
                  <c:v>53</c:v>
                </c:pt>
                <c:pt idx="120">
                  <c:v>51</c:v>
                </c:pt>
                <c:pt idx="121">
                  <c:v>50</c:v>
                </c:pt>
                <c:pt idx="122">
                  <c:v>44</c:v>
                </c:pt>
                <c:pt idx="123">
                  <c:v>42</c:v>
                </c:pt>
                <c:pt idx="124">
                  <c:v>49</c:v>
                </c:pt>
                <c:pt idx="125">
                  <c:v>56</c:v>
                </c:pt>
                <c:pt idx="126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2.2999999999999998</c:v>
                </c:pt>
                <c:pt idx="1">
                  <c:v>1.8</c:v>
                </c:pt>
                <c:pt idx="2">
                  <c:v>1.8</c:v>
                </c:pt>
                <c:pt idx="3">
                  <c:v>1.8</c:v>
                </c:pt>
                <c:pt idx="4">
                  <c:v>2.6</c:v>
                </c:pt>
                <c:pt idx="5">
                  <c:v>3.7</c:v>
                </c:pt>
                <c:pt idx="6">
                  <c:v>4.0999999999999996</c:v>
                </c:pt>
                <c:pt idx="7">
                  <c:v>3.7</c:v>
                </c:pt>
                <c:pt idx="8">
                  <c:v>4.4000000000000004</c:v>
                </c:pt>
                <c:pt idx="9">
                  <c:v>4.0999999999999996</c:v>
                </c:pt>
                <c:pt idx="10">
                  <c:v>6.7</c:v>
                </c:pt>
                <c:pt idx="11">
                  <c:v>6</c:v>
                </c:pt>
                <c:pt idx="12">
                  <c:v>7.9</c:v>
                </c:pt>
                <c:pt idx="13">
                  <c:v>10.6</c:v>
                </c:pt>
                <c:pt idx="14">
                  <c:v>19</c:v>
                </c:pt>
                <c:pt idx="15">
                  <c:v>30.8</c:v>
                </c:pt>
                <c:pt idx="16">
                  <c:v>34.9</c:v>
                </c:pt>
                <c:pt idx="17">
                  <c:v>35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13.397689251174</c:v>
                </c:pt>
                <c:pt idx="1">
                  <c:v>6.6988446255870002</c:v>
                </c:pt>
                <c:pt idx="2">
                  <c:v>3.1731369279089998</c:v>
                </c:pt>
                <c:pt idx="3">
                  <c:v>3.8782784674449999</c:v>
                </c:pt>
                <c:pt idx="4">
                  <c:v>4.2308492372130004</c:v>
                </c:pt>
                <c:pt idx="5">
                  <c:v>4.7597053918640002</c:v>
                </c:pt>
                <c:pt idx="6">
                  <c:v>5.4648469314000003</c:v>
                </c:pt>
                <c:pt idx="7">
                  <c:v>3.5257076976769999</c:v>
                </c:pt>
                <c:pt idx="8">
                  <c:v>5.1122761616319998</c:v>
                </c:pt>
                <c:pt idx="9">
                  <c:v>7.2277007802390001</c:v>
                </c:pt>
                <c:pt idx="10">
                  <c:v>5.4648469314000003</c:v>
                </c:pt>
                <c:pt idx="11">
                  <c:v>4.58342000698</c:v>
                </c:pt>
                <c:pt idx="12">
                  <c:v>6.1699884709350004</c:v>
                </c:pt>
                <c:pt idx="13">
                  <c:v>9.6956961686130008</c:v>
                </c:pt>
                <c:pt idx="14">
                  <c:v>11.105979247683999</c:v>
                </c:pt>
                <c:pt idx="15">
                  <c:v>12.163691556987001</c:v>
                </c:pt>
                <c:pt idx="16">
                  <c:v>16.218255409316999</c:v>
                </c:pt>
                <c:pt idx="17">
                  <c:v>19.743963106993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1.8</c:v>
                </c:pt>
                <c:pt idx="1">
                  <c:v>1.6</c:v>
                </c:pt>
                <c:pt idx="2">
                  <c:v>1.9</c:v>
                </c:pt>
                <c:pt idx="3">
                  <c:v>3.9</c:v>
                </c:pt>
                <c:pt idx="4">
                  <c:v>4.8</c:v>
                </c:pt>
                <c:pt idx="5">
                  <c:v>3.9</c:v>
                </c:pt>
                <c:pt idx="6">
                  <c:v>3.6</c:v>
                </c:pt>
                <c:pt idx="7">
                  <c:v>5.9</c:v>
                </c:pt>
                <c:pt idx="8">
                  <c:v>6.1</c:v>
                </c:pt>
                <c:pt idx="9">
                  <c:v>5</c:v>
                </c:pt>
                <c:pt idx="10">
                  <c:v>4.9000000000000004</c:v>
                </c:pt>
                <c:pt idx="11">
                  <c:v>9.6</c:v>
                </c:pt>
                <c:pt idx="12">
                  <c:v>10</c:v>
                </c:pt>
                <c:pt idx="13">
                  <c:v>15.6</c:v>
                </c:pt>
                <c:pt idx="14">
                  <c:v>43.3</c:v>
                </c:pt>
                <c:pt idx="15">
                  <c:v>95.4</c:v>
                </c:pt>
                <c:pt idx="16">
                  <c:v>114.6</c:v>
                </c:pt>
                <c:pt idx="17">
                  <c:v>10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EE-4CBC-9AF1-4D99DC429A5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25.880078965496001</c:v>
                </c:pt>
                <c:pt idx="1">
                  <c:v>13.502649895040999</c:v>
                </c:pt>
                <c:pt idx="2">
                  <c:v>8.3766439163679998</c:v>
                </c:pt>
                <c:pt idx="3">
                  <c:v>5.2510305147379999</c:v>
                </c:pt>
                <c:pt idx="4">
                  <c:v>7.0013740196510001</c:v>
                </c:pt>
                <c:pt idx="5">
                  <c:v>9.8769383491510006</c:v>
                </c:pt>
                <c:pt idx="6">
                  <c:v>14.502846183562999</c:v>
                </c:pt>
                <c:pt idx="7">
                  <c:v>11.502257317998</c:v>
                </c:pt>
                <c:pt idx="8">
                  <c:v>14.002748039302</c:v>
                </c:pt>
                <c:pt idx="9">
                  <c:v>11.877330926194</c:v>
                </c:pt>
                <c:pt idx="10">
                  <c:v>19.00372948191</c:v>
                </c:pt>
                <c:pt idx="11">
                  <c:v>14.377821647497999</c:v>
                </c:pt>
                <c:pt idx="12">
                  <c:v>17.878508657323</c:v>
                </c:pt>
                <c:pt idx="13">
                  <c:v>27.505397934344</c:v>
                </c:pt>
                <c:pt idx="14">
                  <c:v>52.760354219515001</c:v>
                </c:pt>
                <c:pt idx="15">
                  <c:v>56.636114837535999</c:v>
                </c:pt>
                <c:pt idx="16">
                  <c:v>58.386458342448996</c:v>
                </c:pt>
                <c:pt idx="17">
                  <c:v>82.641218339098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EE-4CBC-9AF1-4D99DC429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2.5</c:v>
                </c:pt>
                <c:pt idx="1">
                  <c:v>1.7</c:v>
                </c:pt>
                <c:pt idx="2">
                  <c:v>2.7</c:v>
                </c:pt>
                <c:pt idx="3">
                  <c:v>2.4</c:v>
                </c:pt>
                <c:pt idx="4">
                  <c:v>8.8000000000000007</c:v>
                </c:pt>
                <c:pt idx="5">
                  <c:v>5.0999999999999996</c:v>
                </c:pt>
                <c:pt idx="6">
                  <c:v>9.1</c:v>
                </c:pt>
                <c:pt idx="7">
                  <c:v>18.899999999999999</c:v>
                </c:pt>
                <c:pt idx="8">
                  <c:v>25.3</c:v>
                </c:pt>
                <c:pt idx="9">
                  <c:v>14.7</c:v>
                </c:pt>
                <c:pt idx="10">
                  <c:v>13.9</c:v>
                </c:pt>
                <c:pt idx="11">
                  <c:v>20.399999999999999</c:v>
                </c:pt>
                <c:pt idx="12">
                  <c:v>19.600000000000001</c:v>
                </c:pt>
                <c:pt idx="13">
                  <c:v>34.799999999999997</c:v>
                </c:pt>
                <c:pt idx="14">
                  <c:v>125</c:v>
                </c:pt>
                <c:pt idx="15">
                  <c:v>256.8</c:v>
                </c:pt>
                <c:pt idx="16">
                  <c:v>280.89999999999998</c:v>
                </c:pt>
                <c:pt idx="17">
                  <c:v>203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10-42B4-976E-33BD47C06A80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0.0</c:formatCode>
                <c:ptCount val="18"/>
                <c:pt idx="0">
                  <c:v>38.667470000000002</c:v>
                </c:pt>
                <c:pt idx="1">
                  <c:v>30.720469999999999</c:v>
                </c:pt>
                <c:pt idx="2">
                  <c:v>14.352040000000001</c:v>
                </c:pt>
                <c:pt idx="3">
                  <c:v>15.300929999999999</c:v>
                </c:pt>
                <c:pt idx="4">
                  <c:v>22.654869999999999</c:v>
                </c:pt>
                <c:pt idx="5">
                  <c:v>35.702170000000002</c:v>
                </c:pt>
                <c:pt idx="6">
                  <c:v>35.820779999999999</c:v>
                </c:pt>
                <c:pt idx="7">
                  <c:v>28.229620000000001</c:v>
                </c:pt>
                <c:pt idx="8">
                  <c:v>26.45045</c:v>
                </c:pt>
                <c:pt idx="9">
                  <c:v>29.059909999999999</c:v>
                </c:pt>
                <c:pt idx="10">
                  <c:v>31.31353</c:v>
                </c:pt>
                <c:pt idx="11">
                  <c:v>24.67127</c:v>
                </c:pt>
                <c:pt idx="12">
                  <c:v>21.705970000000001</c:v>
                </c:pt>
                <c:pt idx="13">
                  <c:v>42.700270000000003</c:v>
                </c:pt>
                <c:pt idx="14">
                  <c:v>67.252930000000006</c:v>
                </c:pt>
                <c:pt idx="15">
                  <c:v>68.676270000000002</c:v>
                </c:pt>
                <c:pt idx="16" formatCode="General">
                  <c:v>65.117909999999995</c:v>
                </c:pt>
                <c:pt idx="17">
                  <c:v>88.2472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10-42B4-976E-33BD47C06A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4.511031672943</c:v>
                </c:pt>
                <c:pt idx="1">
                  <c:v>4.401006510188</c:v>
                </c:pt>
                <c:pt idx="2">
                  <c:v>5.2261952308490001</c:v>
                </c:pt>
                <c:pt idx="3">
                  <c:v>14.193245995359</c:v>
                </c:pt>
                <c:pt idx="4">
                  <c:v>9.0770759272639996</c:v>
                </c:pt>
                <c:pt idx="5">
                  <c:v>8.7470004390000007</c:v>
                </c:pt>
                <c:pt idx="6">
                  <c:v>11.332591763736</c:v>
                </c:pt>
                <c:pt idx="7">
                  <c:v>22.775208690227</c:v>
                </c:pt>
                <c:pt idx="8">
                  <c:v>25.580850340472001</c:v>
                </c:pt>
                <c:pt idx="9">
                  <c:v>32.622460756774998</c:v>
                </c:pt>
                <c:pt idx="10">
                  <c:v>33.887750128454002</c:v>
                </c:pt>
                <c:pt idx="11">
                  <c:v>34.602913686359997</c:v>
                </c:pt>
                <c:pt idx="12">
                  <c:v>48.466084193455004</c:v>
                </c:pt>
                <c:pt idx="13">
                  <c:v>69.810965767870997</c:v>
                </c:pt>
                <c:pt idx="14">
                  <c:v>131.590094654647</c:v>
                </c:pt>
                <c:pt idx="15">
                  <c:v>189.46333026363101</c:v>
                </c:pt>
                <c:pt idx="16">
                  <c:v>190.453556728423</c:v>
                </c:pt>
                <c:pt idx="17">
                  <c:v>219.610224858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1-466D-89AE-D0A7CB1C8A0E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24.315560968793001</c:v>
                </c:pt>
                <c:pt idx="1">
                  <c:v>16.338736669075999</c:v>
                </c:pt>
                <c:pt idx="2">
                  <c:v>14.633346646378</c:v>
                </c:pt>
                <c:pt idx="3">
                  <c:v>14.578334065</c:v>
                </c:pt>
                <c:pt idx="4">
                  <c:v>23.105284178491001</c:v>
                </c:pt>
                <c:pt idx="5">
                  <c:v>32.567448175396997</c:v>
                </c:pt>
                <c:pt idx="6">
                  <c:v>31.852284617492</c:v>
                </c:pt>
                <c:pt idx="7">
                  <c:v>27.451278107303001</c:v>
                </c:pt>
                <c:pt idx="8">
                  <c:v>20.904780923396999</c:v>
                </c:pt>
                <c:pt idx="9">
                  <c:v>23.710422573641999</c:v>
                </c:pt>
                <c:pt idx="10">
                  <c:v>22.665183527471999</c:v>
                </c:pt>
                <c:pt idx="11">
                  <c:v>22.115057713698999</c:v>
                </c:pt>
                <c:pt idx="12">
                  <c:v>22.445133201962999</c:v>
                </c:pt>
                <c:pt idx="13">
                  <c:v>24.260548387416002</c:v>
                </c:pt>
                <c:pt idx="14">
                  <c:v>30.146894594793</c:v>
                </c:pt>
                <c:pt idx="15">
                  <c:v>33.832737547077002</c:v>
                </c:pt>
                <c:pt idx="16">
                  <c:v>41.424473777152002</c:v>
                </c:pt>
                <c:pt idx="17">
                  <c:v>52.757065540889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1-466D-89AE-D0A7CB1C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4.0999999999999996</c:v>
                </c:pt>
                <c:pt idx="1">
                  <c:v>5.4</c:v>
                </c:pt>
                <c:pt idx="2">
                  <c:v>6</c:v>
                </c:pt>
                <c:pt idx="3">
                  <c:v>16.3</c:v>
                </c:pt>
                <c:pt idx="4">
                  <c:v>12.9</c:v>
                </c:pt>
                <c:pt idx="5">
                  <c:v>8</c:v>
                </c:pt>
                <c:pt idx="6">
                  <c:v>8.9</c:v>
                </c:pt>
                <c:pt idx="7">
                  <c:v>13.4</c:v>
                </c:pt>
                <c:pt idx="8">
                  <c:v>14.6</c:v>
                </c:pt>
                <c:pt idx="9">
                  <c:v>15</c:v>
                </c:pt>
                <c:pt idx="10">
                  <c:v>17.100000000000001</c:v>
                </c:pt>
                <c:pt idx="11">
                  <c:v>19.100000000000001</c:v>
                </c:pt>
                <c:pt idx="12">
                  <c:v>25.7</c:v>
                </c:pt>
                <c:pt idx="13">
                  <c:v>41.1</c:v>
                </c:pt>
                <c:pt idx="14">
                  <c:v>82.8</c:v>
                </c:pt>
                <c:pt idx="15">
                  <c:v>136.9</c:v>
                </c:pt>
                <c:pt idx="16">
                  <c:v>167</c:v>
                </c:pt>
                <c:pt idx="17">
                  <c:v>206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23.12969</c:v>
                </c:pt>
                <c:pt idx="1">
                  <c:v>12.098610000000001</c:v>
                </c:pt>
                <c:pt idx="2">
                  <c:v>8.3425030000000007</c:v>
                </c:pt>
                <c:pt idx="3">
                  <c:v>6.1283789999999998</c:v>
                </c:pt>
                <c:pt idx="4">
                  <c:v>7.5517440000000002</c:v>
                </c:pt>
                <c:pt idx="5">
                  <c:v>11.426460000000001</c:v>
                </c:pt>
                <c:pt idx="6">
                  <c:v>13.4429</c:v>
                </c:pt>
                <c:pt idx="7">
                  <c:v>11.94045</c:v>
                </c:pt>
                <c:pt idx="8">
                  <c:v>8.8564959999999999</c:v>
                </c:pt>
                <c:pt idx="9">
                  <c:v>9.8844820000000002</c:v>
                </c:pt>
                <c:pt idx="10">
                  <c:v>11.62415</c:v>
                </c:pt>
                <c:pt idx="11">
                  <c:v>13.24521</c:v>
                </c:pt>
                <c:pt idx="12">
                  <c:v>13.24521</c:v>
                </c:pt>
                <c:pt idx="13">
                  <c:v>18.38514</c:v>
                </c:pt>
                <c:pt idx="14">
                  <c:v>24.51352</c:v>
                </c:pt>
                <c:pt idx="15">
                  <c:v>29.297599999999999</c:v>
                </c:pt>
                <c:pt idx="16">
                  <c:v>36.256279999999997</c:v>
                </c:pt>
                <c:pt idx="17">
                  <c:v>47.0105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3.6</c:v>
                </c:pt>
                <c:pt idx="1">
                  <c:v>5</c:v>
                </c:pt>
                <c:pt idx="2">
                  <c:v>5.0999999999999996</c:v>
                </c:pt>
                <c:pt idx="3">
                  <c:v>16.3</c:v>
                </c:pt>
                <c:pt idx="4">
                  <c:v>11.5</c:v>
                </c:pt>
                <c:pt idx="5">
                  <c:v>7.2</c:v>
                </c:pt>
                <c:pt idx="6">
                  <c:v>6.8</c:v>
                </c:pt>
                <c:pt idx="7">
                  <c:v>10.6</c:v>
                </c:pt>
                <c:pt idx="8">
                  <c:v>10.199999999999999</c:v>
                </c:pt>
                <c:pt idx="9">
                  <c:v>11.8</c:v>
                </c:pt>
                <c:pt idx="10">
                  <c:v>13.1</c:v>
                </c:pt>
                <c:pt idx="11">
                  <c:v>14.5</c:v>
                </c:pt>
                <c:pt idx="12">
                  <c:v>18.600000000000001</c:v>
                </c:pt>
                <c:pt idx="13">
                  <c:v>31.8</c:v>
                </c:pt>
                <c:pt idx="14">
                  <c:v>63</c:v>
                </c:pt>
                <c:pt idx="15">
                  <c:v>98.5</c:v>
                </c:pt>
                <c:pt idx="16">
                  <c:v>128.69999999999999</c:v>
                </c:pt>
                <c:pt idx="17">
                  <c:v>17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EE-4CBC-9AF1-4D99DC429A5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14.549799999999999</c:v>
                </c:pt>
                <c:pt idx="1">
                  <c:v>9.3138889999999996</c:v>
                </c:pt>
                <c:pt idx="2">
                  <c:v>5.437297</c:v>
                </c:pt>
                <c:pt idx="3">
                  <c:v>3.0710660000000001</c:v>
                </c:pt>
                <c:pt idx="4">
                  <c:v>3.574519</c:v>
                </c:pt>
                <c:pt idx="5">
                  <c:v>6.2428229999999996</c:v>
                </c:pt>
                <c:pt idx="6">
                  <c:v>7.3504199999999997</c:v>
                </c:pt>
                <c:pt idx="7">
                  <c:v>5.4876420000000001</c:v>
                </c:pt>
                <c:pt idx="8">
                  <c:v>5.4876420000000001</c:v>
                </c:pt>
                <c:pt idx="9">
                  <c:v>4.7324619999999999</c:v>
                </c:pt>
                <c:pt idx="10">
                  <c:v>5.2862609999999997</c:v>
                </c:pt>
                <c:pt idx="11">
                  <c:v>7.0986929999999999</c:v>
                </c:pt>
                <c:pt idx="12">
                  <c:v>7.9042190000000003</c:v>
                </c:pt>
                <c:pt idx="13">
                  <c:v>10.87459</c:v>
                </c:pt>
                <c:pt idx="14">
                  <c:v>15.15395</c:v>
                </c:pt>
                <c:pt idx="15">
                  <c:v>16.765000000000001</c:v>
                </c:pt>
                <c:pt idx="16">
                  <c:v>19.886410000000001</c:v>
                </c:pt>
                <c:pt idx="17">
                  <c:v>28.0927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EE-4CBC-9AF1-4D99DC429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2.3088372911850001</c:v>
                </c:pt>
                <c:pt idx="1">
                  <c:v>1.51517447234</c:v>
                </c:pt>
                <c:pt idx="2">
                  <c:v>2.1645349604859998</c:v>
                </c:pt>
                <c:pt idx="3">
                  <c:v>2.092383795136</c:v>
                </c:pt>
                <c:pt idx="4">
                  <c:v>2.7417442832819998</c:v>
                </c:pt>
                <c:pt idx="5">
                  <c:v>2.9581977793309999</c:v>
                </c:pt>
                <c:pt idx="6">
                  <c:v>3.2468024407290001</c:v>
                </c:pt>
                <c:pt idx="7">
                  <c:v>6.1328490547110004</c:v>
                </c:pt>
                <c:pt idx="8">
                  <c:v>5.3391862358660003</c:v>
                </c:pt>
                <c:pt idx="9">
                  <c:v>6.710058377507</c:v>
                </c:pt>
                <c:pt idx="10">
                  <c:v>6.0606978893610002</c:v>
                </c:pt>
                <c:pt idx="11">
                  <c:v>9.7404073221880001</c:v>
                </c:pt>
                <c:pt idx="12">
                  <c:v>12.482151605471</c:v>
                </c:pt>
                <c:pt idx="13">
                  <c:v>17.099826187842002</c:v>
                </c:pt>
                <c:pt idx="14">
                  <c:v>33.622443052888002</c:v>
                </c:pt>
                <c:pt idx="15">
                  <c:v>50.866571571430001</c:v>
                </c:pt>
                <c:pt idx="16">
                  <c:v>71.501804861400998</c:v>
                </c:pt>
                <c:pt idx="17">
                  <c:v>106.855875882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10-42B4-976E-33BD47C06A80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8.8024421726439996</c:v>
                </c:pt>
                <c:pt idx="1">
                  <c:v>4.0404652595739998</c:v>
                </c:pt>
                <c:pt idx="2">
                  <c:v>3.03034894468</c:v>
                </c:pt>
                <c:pt idx="3">
                  <c:v>1.58732563769</c:v>
                </c:pt>
                <c:pt idx="4">
                  <c:v>1.0101163148929999</c:v>
                </c:pt>
                <c:pt idx="5">
                  <c:v>2.6695931179330001</c:v>
                </c:pt>
                <c:pt idx="6">
                  <c:v>2.813895448632</c:v>
                </c:pt>
                <c:pt idx="7">
                  <c:v>2.5974419525829999</c:v>
                </c:pt>
                <c:pt idx="8">
                  <c:v>2.3809884565349999</c:v>
                </c:pt>
                <c:pt idx="9">
                  <c:v>2.813895448632</c:v>
                </c:pt>
                <c:pt idx="10">
                  <c:v>2.9581977793309999</c:v>
                </c:pt>
                <c:pt idx="11">
                  <c:v>3.17465127538</c:v>
                </c:pt>
                <c:pt idx="12">
                  <c:v>3.6075582674770001</c:v>
                </c:pt>
                <c:pt idx="13">
                  <c:v>5.1227327398169997</c:v>
                </c:pt>
                <c:pt idx="14">
                  <c:v>8.4416863458970006</c:v>
                </c:pt>
                <c:pt idx="15">
                  <c:v>9.8125584875380003</c:v>
                </c:pt>
                <c:pt idx="16">
                  <c:v>11.399884125228001</c:v>
                </c:pt>
                <c:pt idx="17">
                  <c:v>17.821337841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10-42B4-976E-33BD47C06A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3.754808420611</c:v>
                </c:pt>
                <c:pt idx="1">
                  <c:v>3.1074276584359999</c:v>
                </c:pt>
                <c:pt idx="2">
                  <c:v>6.0853791644379998</c:v>
                </c:pt>
                <c:pt idx="3">
                  <c:v>2.8484753535670002</c:v>
                </c:pt>
                <c:pt idx="4">
                  <c:v>3.1074276584359999</c:v>
                </c:pt>
                <c:pt idx="5">
                  <c:v>2.071618438957</c:v>
                </c:pt>
                <c:pt idx="6">
                  <c:v>3.4958561157410002</c:v>
                </c:pt>
                <c:pt idx="7">
                  <c:v>12.688662938616</c:v>
                </c:pt>
                <c:pt idx="8">
                  <c:v>7.1211883839169996</c:v>
                </c:pt>
                <c:pt idx="9">
                  <c:v>10.228616042354</c:v>
                </c:pt>
                <c:pt idx="10">
                  <c:v>8.9338545180050009</c:v>
                </c:pt>
                <c:pt idx="11">
                  <c:v>11.005472956963001</c:v>
                </c:pt>
                <c:pt idx="12">
                  <c:v>11.005472956963001</c:v>
                </c:pt>
                <c:pt idx="13">
                  <c:v>16.831899816532001</c:v>
                </c:pt>
                <c:pt idx="14">
                  <c:v>41.432368779156</c:v>
                </c:pt>
                <c:pt idx="15">
                  <c:v>54.897888632381999</c:v>
                </c:pt>
                <c:pt idx="16">
                  <c:v>76.131977631699002</c:v>
                </c:pt>
                <c:pt idx="17">
                  <c:v>126.10977247155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1-466D-89AE-D0A7CB1C8A0E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0.0</c:formatCode>
                <c:ptCount val="18"/>
                <c:pt idx="0">
                  <c:v>8.5454260000000009</c:v>
                </c:pt>
                <c:pt idx="1">
                  <c:v>5.8264269999999998</c:v>
                </c:pt>
                <c:pt idx="2">
                  <c:v>5.4379980000000003</c:v>
                </c:pt>
                <c:pt idx="3">
                  <c:v>2.5895229999999998</c:v>
                </c:pt>
                <c:pt idx="4">
                  <c:v>2.071618</c:v>
                </c:pt>
                <c:pt idx="5">
                  <c:v>2.201095</c:v>
                </c:pt>
                <c:pt idx="6">
                  <c:v>2.8484750000000001</c:v>
                </c:pt>
                <c:pt idx="7">
                  <c:v>2.4600469999999999</c:v>
                </c:pt>
                <c:pt idx="8">
                  <c:v>2.3305709999999999</c:v>
                </c:pt>
                <c:pt idx="9">
                  <c:v>1.68319</c:v>
                </c:pt>
                <c:pt idx="10">
                  <c:v>2.3305709999999999</c:v>
                </c:pt>
                <c:pt idx="11">
                  <c:v>2.7189990000000002</c:v>
                </c:pt>
                <c:pt idx="12">
                  <c:v>3.6253320000000002</c:v>
                </c:pt>
                <c:pt idx="13">
                  <c:v>8.9338549999999994</c:v>
                </c:pt>
                <c:pt idx="14">
                  <c:v>8.1569979999999997</c:v>
                </c:pt>
                <c:pt idx="15">
                  <c:v>12.300230000000001</c:v>
                </c:pt>
                <c:pt idx="16" formatCode="General">
                  <c:v>12.68866</c:v>
                </c:pt>
                <c:pt idx="17">
                  <c:v>18.25613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1-466D-89AE-D0A7CB1C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504</cdr:x>
      <cdr:y>0.52232</cdr:y>
    </cdr:from>
    <cdr:to>
      <cdr:x>0.84908</cdr:x>
      <cdr:y>0.52232</cdr:y>
    </cdr:to>
    <cdr:cxnSp macro="">
      <cdr:nvCxnSpPr>
        <cdr:cNvPr id="3" name="Přímá spojnice 2">
          <a:extLst xmlns:a="http://schemas.openxmlformats.org/drawingml/2006/main">
            <a:ext uri="{FF2B5EF4-FFF2-40B4-BE49-F238E27FC236}">
              <a16:creationId xmlns:a16="http://schemas.microsoft.com/office/drawing/2014/main" id="{C981A278-ECF0-4740-90D1-51E33430F70C}"/>
            </a:ext>
          </a:extLst>
        </cdr:cNvPr>
        <cdr:cNvCxnSpPr/>
      </cdr:nvCxnSpPr>
      <cdr:spPr>
        <a:xfrm xmlns:a="http://schemas.openxmlformats.org/drawingml/2006/main">
          <a:off x="480255" y="2802440"/>
          <a:ext cx="8572500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310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89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01097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06095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750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437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861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78612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4728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012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4074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399027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1787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5363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156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464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824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306441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5880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7.sv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87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599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0798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4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4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4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chart" Target="../charts/chart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15" Type="http://schemas.openxmlformats.org/officeDocument/2006/relationships/chart" Target="../charts/chart5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chart" Target="../charts/chart7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chart" Target="../charts/chart6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20.xml"/><Relationship Id="rId15" Type="http://schemas.openxmlformats.org/officeDocument/2006/relationships/chart" Target="../charts/chart9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chart" Target="../charts/chart10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chart" Target="../charts/chart11.xml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chart" Target="../charts/chart12.xml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rovnávací „</a:t>
            </a:r>
            <a:r>
              <a:rPr lang="cs-CZ" sz="4800" b="1" dirty="0" err="1"/>
              <a:t>kalib</a:t>
            </a:r>
            <a:r>
              <a:rPr lang="en-US" sz="4800" b="1" dirty="0"/>
              <a:t>r</a:t>
            </a:r>
            <a:r>
              <a:rPr lang="cs-CZ" sz="4800" b="1" dirty="0" err="1"/>
              <a:t>ační</a:t>
            </a:r>
            <a:r>
              <a:rPr lang="cs-CZ" sz="4800" b="1" dirty="0"/>
              <a:t>“ grafy </a:t>
            </a:r>
          </a:p>
          <a:p>
            <a:r>
              <a:rPr lang="cs-CZ" sz="4800" b="1" dirty="0"/>
              <a:t>vývoje 2020 vs. 2021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r>
              <a:rPr lang="cs-CZ" dirty="0"/>
              <a:t>Denní nové příjmy na JIP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960583"/>
            <a:ext cx="15650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600" b="1" dirty="0"/>
              <a:t>Denní nové příjmy na JIP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39571131"/>
              </p:ext>
            </p:ext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62072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pPr lvl="0" fontAlgn="b">
              <a:defRPr/>
            </a:pPr>
            <a:r>
              <a:rPr lang="cs-CZ" dirty="0"/>
              <a:t>Počet hospitalizovaných s Covid-19 v nemocnicích</a:t>
            </a:r>
            <a:endParaRPr lang="cs-CZ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1924" y="2351782"/>
            <a:ext cx="147637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cs-CZ" sz="1600" b="1" dirty="0"/>
              <a:t>Počet hospitalizovaných s Covid-19 </a:t>
            </a:r>
          </a:p>
          <a:p>
            <a:pPr lvl="0" fontAlgn="b">
              <a:defRPr/>
            </a:pPr>
            <a:r>
              <a:rPr lang="cs-CZ" sz="1600" b="1" dirty="0"/>
              <a:t>v nemocnicích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20387250"/>
              </p:ext>
            </p:extLst>
          </p:nvPr>
        </p:nvGraphicFramePr>
        <p:xfrm>
          <a:off x="1530157" y="1171683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1460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pPr lvl="0" fontAlgn="b">
              <a:defRPr/>
            </a:pPr>
            <a:r>
              <a:rPr lang="cs-CZ" dirty="0"/>
              <a:t>Počet hospitalizovaných na JIP s Covid-19 v nemocnicích</a:t>
            </a:r>
            <a:endParaRPr lang="cs-CZ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70338" y="2351782"/>
            <a:ext cx="152106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cs-CZ" sz="1600" b="1" dirty="0"/>
              <a:t>Počet hospitalizovaných na JIP s Covid-19 v nemocnicích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5953365"/>
              </p:ext>
            </p:extLst>
          </p:nvPr>
        </p:nvGraphicFramePr>
        <p:xfrm>
          <a:off x="1530157" y="1171683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18737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15</a:t>
            </a:r>
            <a:r>
              <a:rPr lang="en-US" dirty="0"/>
              <a:t>.</a:t>
            </a:r>
            <a:r>
              <a:rPr lang="cs-CZ" dirty="0"/>
              <a:t>7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0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72082922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6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4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6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5398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15</a:t>
            </a:r>
            <a:r>
              <a:rPr lang="en-US" dirty="0"/>
              <a:t>.</a:t>
            </a:r>
            <a:r>
              <a:rPr lang="cs-CZ" dirty="0"/>
              <a:t>7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1</a:t>
            </a:r>
            <a:endParaRPr lang="cs-CZ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0157081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6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2863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31</a:t>
            </a:r>
            <a:r>
              <a:rPr lang="en-US" dirty="0"/>
              <a:t>.</a:t>
            </a:r>
            <a:r>
              <a:rPr lang="cs-CZ" dirty="0"/>
              <a:t>7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0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89673811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8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5631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31</a:t>
            </a:r>
            <a:r>
              <a:rPr lang="en-US" dirty="0"/>
              <a:t>.</a:t>
            </a:r>
            <a:r>
              <a:rPr lang="cs-CZ" dirty="0"/>
              <a:t>7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1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7439853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3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4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7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3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17837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15</a:t>
            </a:r>
            <a:r>
              <a:rPr lang="en-US" dirty="0"/>
              <a:t>.</a:t>
            </a:r>
            <a:r>
              <a:rPr lang="cs-CZ" dirty="0"/>
              <a:t>8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0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99574409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8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38569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15</a:t>
            </a:r>
            <a:r>
              <a:rPr lang="en-US" dirty="0"/>
              <a:t>.</a:t>
            </a:r>
            <a:r>
              <a:rPr lang="cs-CZ" dirty="0"/>
              <a:t>8</a:t>
            </a:r>
            <a:r>
              <a:rPr lang="en-US" dirty="0"/>
              <a:t>.202</a:t>
            </a:r>
            <a:r>
              <a:rPr lang="en-US" dirty="0">
                <a:solidFill>
                  <a:srgbClr val="00FF00"/>
                </a:solidFill>
              </a:rPr>
              <a:t>1</a:t>
            </a:r>
            <a:endParaRPr lang="cs-CZ" dirty="0">
              <a:solidFill>
                <a:srgbClr val="00FF00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2058722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4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4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3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9994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31</a:t>
            </a:r>
            <a:r>
              <a:rPr lang="en-US" dirty="0"/>
              <a:t>.</a:t>
            </a:r>
            <a:r>
              <a:rPr lang="cs-CZ" dirty="0"/>
              <a:t>8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0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21680721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9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3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9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9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8136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69928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4201224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31</a:t>
            </a:r>
            <a:r>
              <a:rPr lang="en-US" dirty="0"/>
              <a:t>.</a:t>
            </a:r>
            <a:r>
              <a:rPr lang="cs-CZ" dirty="0"/>
              <a:t>8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1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2591877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5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2670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15.9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0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1621439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4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5937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15.9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1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9644387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7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8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6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8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4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9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92871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30.9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0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4157893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8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3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5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6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3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8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.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06228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</a:t>
            </a:r>
            <a:r>
              <a:rPr lang="cs-CZ" dirty="0"/>
              <a:t>30.9</a:t>
            </a:r>
            <a:r>
              <a:rPr lang="en-US" dirty="0"/>
              <a:t>.202</a:t>
            </a:r>
            <a:r>
              <a:rPr lang="cs-CZ" dirty="0">
                <a:solidFill>
                  <a:srgbClr val="00FF00"/>
                </a:solidFill>
              </a:rPr>
              <a:t>1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3785561"/>
              </p:ext>
            </p:extLst>
          </p:nvPr>
        </p:nvGraphicFramePr>
        <p:xfrm>
          <a:off x="154578" y="912304"/>
          <a:ext cx="11732623" cy="5227532"/>
        </p:xfrm>
        <a:graphic>
          <a:graphicData uri="http://schemas.openxmlformats.org/drawingml/2006/table">
            <a:tbl>
              <a:tblPr/>
              <a:tblGrid>
                <a:gridCol w="1771317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31846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05612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2573381192"/>
                    </a:ext>
                  </a:extLst>
                </a:gridCol>
                <a:gridCol w="684853">
                  <a:extLst>
                    <a:ext uri="{9D8B030D-6E8A-4147-A177-3AD203B41FA5}">
                      <a16:colId xmlns:a16="http://schemas.microsoft.com/office/drawing/2014/main" val="3176736418"/>
                    </a:ext>
                  </a:extLst>
                </a:gridCol>
              </a:tblGrid>
              <a:tr h="119656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ná kapacita JI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emřelí 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1737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1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9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6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8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3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2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2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1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3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4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1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1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0.5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3.9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3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6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8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9.2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.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4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115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232160"/>
              </p:ext>
            </p:extLst>
          </p:nvPr>
        </p:nvGraphicFramePr>
        <p:xfrm>
          <a:off x="851634" y="908488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655" y="2690336"/>
            <a:ext cx="93501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E85EA2A-2F90-4CE3-9A5A-1281E5B8F5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26068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0</a:t>
            </a:r>
            <a:r>
              <a:rPr lang="cs-CZ" b="1" dirty="0"/>
              <a:t>–</a:t>
            </a:r>
            <a:r>
              <a:rPr lang="en-US" b="1" dirty="0"/>
              <a:t>4 </a:t>
            </a:r>
            <a:r>
              <a:rPr lang="en-US" b="1" dirty="0" err="1"/>
              <a:t>roky</a:t>
            </a:r>
            <a:endParaRPr lang="cs-CZ" b="1" dirty="0"/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3778CBDA-0F9D-4A8D-92EA-C9689373FD80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3739425"/>
              </p:ext>
            </p:extLst>
          </p:nvPr>
        </p:nvGraphicFramePr>
        <p:xfrm>
          <a:off x="6321669" y="945334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6BC52D39-781C-447F-B74C-6B967FEDA3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07629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5</a:t>
            </a:r>
            <a:r>
              <a:rPr lang="cs-CZ" b="1" dirty="0"/>
              <a:t>–</a:t>
            </a:r>
            <a:r>
              <a:rPr lang="en-US" b="1" dirty="0"/>
              <a:t>11 let</a:t>
            </a:r>
            <a:endParaRPr lang="cs-CZ" b="1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6A9BEDB-17BA-4728-A6CE-F2A294C3250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945520" y="352793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12</a:t>
            </a:r>
            <a:r>
              <a:rPr lang="cs-CZ" b="1" dirty="0"/>
              <a:t>–</a:t>
            </a:r>
            <a:r>
              <a:rPr lang="en-US" b="1" dirty="0"/>
              <a:t>19 let</a:t>
            </a:r>
            <a:endParaRPr lang="cs-CZ" b="1" dirty="0"/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F2D9F1A-AF84-4C3A-ABFE-B21F797346C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496103" y="350776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20</a:t>
            </a:r>
            <a:r>
              <a:rPr lang="cs-CZ" b="1" dirty="0"/>
              <a:t>–</a:t>
            </a:r>
            <a:r>
              <a:rPr lang="en-US" b="1" dirty="0"/>
              <a:t>34 let</a:t>
            </a:r>
            <a:endParaRPr lang="cs-CZ" b="1" dirty="0"/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82EC9AF0-B86E-4C4E-8BA8-11CB823BAD87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88512288"/>
              </p:ext>
            </p:extLst>
          </p:nvPr>
        </p:nvGraphicFramePr>
        <p:xfrm>
          <a:off x="794631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1" name="Graf 30">
            <a:extLst>
              <a:ext uri="{FF2B5EF4-FFF2-40B4-BE49-F238E27FC236}">
                <a16:creationId xmlns:a16="http://schemas.microsoft.com/office/drawing/2014/main" id="{75EF5DB1-AD24-4CA3-852F-D3C5928A4D86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5890048"/>
              </p:ext>
            </p:extLst>
          </p:nvPr>
        </p:nvGraphicFramePr>
        <p:xfrm>
          <a:off x="6321669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  <p:extLst>
      <p:ext uri="{BB962C8B-B14F-4D97-AF65-F5344CB8AC3E}">
        <p14:creationId xmlns:p14="http://schemas.microsoft.com/office/powerpoint/2010/main" val="2498983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0807552"/>
              </p:ext>
            </p:extLst>
          </p:nvPr>
        </p:nvGraphicFramePr>
        <p:xfrm>
          <a:off x="851634" y="908488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655" y="2690336"/>
            <a:ext cx="93501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E85EA2A-2F90-4CE3-9A5A-1281E5B8F5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26068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35</a:t>
            </a:r>
            <a:r>
              <a:rPr lang="cs-CZ" b="1" dirty="0"/>
              <a:t>–</a:t>
            </a:r>
            <a:r>
              <a:rPr lang="en-US" b="1" dirty="0"/>
              <a:t>49 let</a:t>
            </a:r>
            <a:endParaRPr lang="cs-CZ" b="1" dirty="0"/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3778CBDA-0F9D-4A8D-92EA-C9689373FD80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59945533"/>
              </p:ext>
            </p:extLst>
          </p:nvPr>
        </p:nvGraphicFramePr>
        <p:xfrm>
          <a:off x="6321669" y="945334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6BC52D39-781C-447F-B74C-6B967FEDA3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07629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50</a:t>
            </a:r>
            <a:r>
              <a:rPr lang="cs-CZ" b="1" dirty="0"/>
              <a:t>–</a:t>
            </a:r>
            <a:r>
              <a:rPr lang="en-US" b="1" dirty="0"/>
              <a:t>64 let</a:t>
            </a:r>
            <a:endParaRPr lang="cs-CZ" b="1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6A9BEDB-17BA-4728-A6CE-F2A294C3250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945520" y="352793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65</a:t>
            </a:r>
            <a:r>
              <a:rPr lang="cs-CZ" b="1" dirty="0"/>
              <a:t>–</a:t>
            </a:r>
            <a:r>
              <a:rPr lang="en-US" b="1" dirty="0"/>
              <a:t>75 let</a:t>
            </a:r>
            <a:endParaRPr lang="cs-CZ" b="1" dirty="0"/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F2D9F1A-AF84-4C3A-ABFE-B21F797346C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496103" y="350776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75+ let</a:t>
            </a:r>
            <a:endParaRPr lang="cs-CZ" b="1" dirty="0"/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82EC9AF0-B86E-4C4E-8BA8-11CB823BAD87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9297099"/>
              </p:ext>
            </p:extLst>
          </p:nvPr>
        </p:nvGraphicFramePr>
        <p:xfrm>
          <a:off x="794631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1" name="Graf 30">
            <a:extLst>
              <a:ext uri="{FF2B5EF4-FFF2-40B4-BE49-F238E27FC236}">
                <a16:creationId xmlns:a16="http://schemas.microsoft.com/office/drawing/2014/main" id="{75EF5DB1-AD24-4CA3-852F-D3C5928A4D86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10809471"/>
              </p:ext>
            </p:extLst>
          </p:nvPr>
        </p:nvGraphicFramePr>
        <p:xfrm>
          <a:off x="6321669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  <p:extLst>
      <p:ext uri="{BB962C8B-B14F-4D97-AF65-F5344CB8AC3E}">
        <p14:creationId xmlns:p14="http://schemas.microsoft.com/office/powerpoint/2010/main" val="30593605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(absolutní počty)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337650"/>
              </p:ext>
            </p:ext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310" y="3137689"/>
            <a:ext cx="12548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</a:t>
            </a:r>
          </a:p>
        </p:txBody>
      </p:sp>
    </p:spTree>
    <p:extLst>
      <p:ext uri="{BB962C8B-B14F-4D97-AF65-F5344CB8AC3E}">
        <p14:creationId xmlns:p14="http://schemas.microsoft.com/office/powerpoint/2010/main" val="18640609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186615" cy="576000"/>
          </a:xfrm>
        </p:spPr>
        <p:txBody>
          <a:bodyPr/>
          <a:lstStyle/>
          <a:p>
            <a:r>
              <a:rPr lang="cs-CZ" dirty="0"/>
              <a:t>Počty </a:t>
            </a:r>
            <a:r>
              <a:rPr lang="en-US" dirty="0" err="1"/>
              <a:t>sy</a:t>
            </a:r>
            <a:r>
              <a:rPr lang="cs-CZ" dirty="0"/>
              <a:t>m</a:t>
            </a:r>
            <a:r>
              <a:rPr lang="en-US" dirty="0" err="1"/>
              <a:t>ptomatic</a:t>
            </a:r>
            <a:r>
              <a:rPr lang="cs-CZ" dirty="0" err="1"/>
              <a:t>kých</a:t>
            </a:r>
            <a:r>
              <a:rPr lang="cs-CZ" dirty="0"/>
              <a:t> případů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752089"/>
              </p:ext>
            </p:extLst>
          </p:nvPr>
        </p:nvGraphicFramePr>
        <p:xfrm>
          <a:off x="1565031" y="97618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134106"/>
            <a:ext cx="17049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fontAlgn="b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Calibri" panose="020F0502020204030204" pitchFamily="34" charset="0"/>
              </a:rPr>
              <a:t>sy</a:t>
            </a:r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m</a:t>
            </a:r>
            <a:r>
              <a:rPr lang="en-US" sz="1600" b="1" dirty="0" err="1">
                <a:solidFill>
                  <a:srgbClr val="000000"/>
                </a:solidFill>
                <a:latin typeface="Calibri" panose="020F0502020204030204" pitchFamily="34" charset="0"/>
              </a:rPr>
              <a:t>ptomatic</a:t>
            </a:r>
            <a:r>
              <a:rPr lang="cs-CZ" sz="1600" b="1" dirty="0" err="1">
                <a:solidFill>
                  <a:srgbClr val="000000"/>
                </a:solidFill>
                <a:latin typeface="Calibri" panose="020F0502020204030204" pitchFamily="34" charset="0"/>
              </a:rPr>
              <a:t>kých</a:t>
            </a:r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 případů COVID-19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a 100 000 osob v dané věkové skupině v populaci (suma za cel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1448604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Relativní pozitivita PCR test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1593141"/>
              </p:ext>
            </p:extLst>
          </p:nvPr>
        </p:nvGraphicFramePr>
        <p:xfrm>
          <a:off x="1322168" y="1286012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310" y="3137689"/>
            <a:ext cx="12548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cs-CZ" sz="1600" b="1" dirty="0"/>
              <a:t>Relativní pozitivita PCR testů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0215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r>
              <a:rPr lang="cs-CZ" dirty="0"/>
              <a:t>7denní číslo 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960583"/>
            <a:ext cx="1565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cs-CZ" sz="1600" b="1" dirty="0"/>
              <a:t>7denní R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3108816"/>
              </p:ext>
            </p:ext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74927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r>
              <a:rPr lang="cs-CZ" dirty="0"/>
              <a:t>Denní nové příjmy do nemocnic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960583"/>
            <a:ext cx="15650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cs-CZ" sz="1600" b="1" dirty="0"/>
              <a:t>Denní nové příjmy do nemocnic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41348"/>
              </p:ext>
            </p:ext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96446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54</TotalTime>
  <Words>6748</Words>
  <Application>Microsoft Office PowerPoint</Application>
  <PresentationFormat>Širokoúhlá obrazovka</PresentationFormat>
  <Paragraphs>3088</Paragraphs>
  <Slides>2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24</vt:i4>
      </vt:variant>
    </vt:vector>
  </HeadingPairs>
  <TitlesOfParts>
    <vt:vector size="31" baseType="lpstr">
      <vt:lpstr>Arial</vt:lpstr>
      <vt:lpstr>Calibri Light</vt:lpstr>
      <vt:lpstr>Arial (Základní text)</vt:lpstr>
      <vt:lpstr>Calibri</vt:lpstr>
      <vt:lpstr>1_Motiv Office</vt:lpstr>
      <vt:lpstr>9_Motiv Office</vt:lpstr>
      <vt:lpstr>8_Motiv Office</vt:lpstr>
      <vt:lpstr>Datová a informační základna  pro management pandemie COVID-19</vt:lpstr>
      <vt:lpstr>Počty COVID-19 pozitivních v ČR na 100 000 v populaci</vt:lpstr>
      <vt:lpstr>Počty COVID-19 pozitivních v ČR na 100 000 v populaci</vt:lpstr>
      <vt:lpstr>Počty COVID-19 pozitivních v ČR na 100 000 v populaci</vt:lpstr>
      <vt:lpstr>Počty COVID-19 pozitivních v ČR (absolutní počty)</vt:lpstr>
      <vt:lpstr>Počty symptomatických případů COVID-19 pozitivních v ČR na 100 000 v populaci</vt:lpstr>
      <vt:lpstr>Relativní pozitivita PCR testů</vt:lpstr>
      <vt:lpstr>7denní číslo R</vt:lpstr>
      <vt:lpstr>Denní nové příjmy do nemocnic</vt:lpstr>
      <vt:lpstr>Denní nové příjmy na JIP </vt:lpstr>
      <vt:lpstr>Počet hospitalizovaných s Covid-19 v nemocnicích</vt:lpstr>
      <vt:lpstr>Počet hospitalizovaných na JIP s Covid-19 v nemocnicích</vt:lpstr>
      <vt:lpstr>Rizikové charakteristiky: ČR a regiony k datu 15.7.2020</vt:lpstr>
      <vt:lpstr>Rizikové charakteristiky: ČR a regiony k datu 15.7.2021</vt:lpstr>
      <vt:lpstr>Rizikové charakteristiky: ČR a regiony k datu 31.7.2020</vt:lpstr>
      <vt:lpstr>Rizikové charakteristiky: ČR a regiony k datu 31.7.2021</vt:lpstr>
      <vt:lpstr>Rizikové charakteristiky: ČR a regiony k datu 15.8.2020</vt:lpstr>
      <vt:lpstr>Rizikové charakteristiky: ČR a regiony k datu 15.8.2021</vt:lpstr>
      <vt:lpstr>Rizikové charakteristiky: ČR a regiony k datu 31.8.2020</vt:lpstr>
      <vt:lpstr>Rizikové charakteristiky: ČR a regiony k datu 31.8.2021</vt:lpstr>
      <vt:lpstr>Rizikové charakteristiky: ČR a regiony k datu 15.9.2020</vt:lpstr>
      <vt:lpstr>Rizikové charakteristiky: ČR a regiony k datu 15.9.2021</vt:lpstr>
      <vt:lpstr>Rizikové charakteristiky: ČR a regiony k datu 30.9.2020</vt:lpstr>
      <vt:lpstr>Rizikové charakteristiky: ČR a regiony k datu 30.9.202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Krejčí Denisa RNDr.</cp:lastModifiedBy>
  <cp:revision>1476</cp:revision>
  <dcterms:created xsi:type="dcterms:W3CDTF">2020-11-11T17:36:28Z</dcterms:created>
  <dcterms:modified xsi:type="dcterms:W3CDTF">2021-10-06T12:16:54Z</dcterms:modified>
</cp:coreProperties>
</file>